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703" r:id="rId5"/>
  </p:sldMasterIdLst>
  <p:notesMasterIdLst>
    <p:notesMasterId r:id="rId17"/>
  </p:notesMasterIdLst>
  <p:sldIdLst>
    <p:sldId id="267" r:id="rId6"/>
    <p:sldId id="269" r:id="rId7"/>
    <p:sldId id="266" r:id="rId8"/>
    <p:sldId id="264" r:id="rId9"/>
    <p:sldId id="273" r:id="rId10"/>
    <p:sldId id="268" r:id="rId11"/>
    <p:sldId id="2147475055" r:id="rId12"/>
    <p:sldId id="272" r:id="rId13"/>
    <p:sldId id="270" r:id="rId14"/>
    <p:sldId id="2147475054" r:id="rId15"/>
    <p:sldId id="271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296BFB5-B970-4193-A278-63AE9AB06ABD}">
          <p14:sldIdLst>
            <p14:sldId id="267"/>
            <p14:sldId id="269"/>
            <p14:sldId id="266"/>
            <p14:sldId id="264"/>
            <p14:sldId id="273"/>
            <p14:sldId id="268"/>
          </p14:sldIdLst>
        </p14:section>
        <p14:section name="Folien zum Kopieren" id="{1FDC5813-D461-414C-9256-AD3142F18638}">
          <p14:sldIdLst>
            <p14:sldId id="2147475055"/>
            <p14:sldId id="272"/>
            <p14:sldId id="270"/>
          </p14:sldIdLst>
        </p14:section>
        <p14:section name="Backup" id="{396C4879-9D56-4422-B384-1AD440017368}">
          <p14:sldIdLst>
            <p14:sldId id="2147475054"/>
            <p14:sldId id="2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1D015D-22C1-EB31-0DDF-FB4D2E7A6EBD}" name="Marielle Berktold" initials="MB" userId="S::marielle.berktold@ifohra.de::06eb6efe-c237-487d-9e7f-9fba4d0955d6" providerId="AD"/>
  <p188:author id="{42AAC3E0-EE86-CEBE-FCAE-F39242F98125}" name="Anika Zimmermann" initials="AZ" userId="S::anika.zimmermann@ifohra.de::7fdd1538-c1e4-4452-90e6-0d5f35999fb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95A85"/>
    <a:srgbClr val="6E42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64CA87-8F14-BDD9-A3F4-2929C2B24C84}" v="10" dt="2025-03-27T09:50:45.7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52" d="100"/>
          <a:sy n="52" d="100"/>
        </p:scale>
        <p:origin x="64" y="9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Koschnike" userId="S::michael.koschnike@ifohra.de::36fdae8d-edee-4372-aac8-beac982d859f" providerId="AD" clId="Web-{2C64CA87-8F14-BDD9-A3F4-2929C2B24C84}"/>
    <pc:docChg chg="modSld">
      <pc:chgData name="Michael Koschnike" userId="S::michael.koschnike@ifohra.de::36fdae8d-edee-4372-aac8-beac982d859f" providerId="AD" clId="Web-{2C64CA87-8F14-BDD9-A3F4-2929C2B24C84}" dt="2025-03-27T09:50:43.449" v="3" actId="20577"/>
      <pc:docMkLst>
        <pc:docMk/>
      </pc:docMkLst>
      <pc:sldChg chg="modSp">
        <pc:chgData name="Michael Koschnike" userId="S::michael.koschnike@ifohra.de::36fdae8d-edee-4372-aac8-beac982d859f" providerId="AD" clId="Web-{2C64CA87-8F14-BDD9-A3F4-2929C2B24C84}" dt="2025-03-27T09:50:43.449" v="3" actId="20577"/>
        <pc:sldMkLst>
          <pc:docMk/>
          <pc:sldMk cId="455054425" sldId="266"/>
        </pc:sldMkLst>
        <pc:spChg chg="mod">
          <ac:chgData name="Michael Koschnike" userId="S::michael.koschnike@ifohra.de::36fdae8d-edee-4372-aac8-beac982d859f" providerId="AD" clId="Web-{2C64CA87-8F14-BDD9-A3F4-2929C2B24C84}" dt="2025-03-27T09:50:43.449" v="3" actId="20577"/>
          <ac:spMkLst>
            <pc:docMk/>
            <pc:sldMk cId="455054425" sldId="266"/>
            <ac:spMk id="23" creationId="{38D959BD-8966-E358-5F91-BFBD368C8584}"/>
          </ac:spMkLst>
        </pc:spChg>
      </pc:sldChg>
    </pc:docChg>
  </pc:docChgLst>
  <pc:docChgLst>
    <pc:chgData name="Anika Zimmermann" userId="7fdd1538-c1e4-4452-90e6-0d5f35999fb8" providerId="ADAL" clId="{741D8CC8-F595-45A2-A6A7-A0D34E928C32}"/>
    <pc:docChg chg="undo custSel addSld delSld modSld modSection">
      <pc:chgData name="Anika Zimmermann" userId="7fdd1538-c1e4-4452-90e6-0d5f35999fb8" providerId="ADAL" clId="{741D8CC8-F595-45A2-A6A7-A0D34E928C32}" dt="2025-01-24T08:57:56.652" v="4"/>
      <pc:docMkLst>
        <pc:docMk/>
      </pc:docMkLst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1815348962" sldId="256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929351832" sldId="257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1726707104" sldId="258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1114183541" sldId="259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3605718426" sldId="260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2784692577" sldId="261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1490317357" sldId="262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1275892387" sldId="263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2329830873" sldId="267"/>
        </pc:sldMkLst>
      </pc:sldChg>
      <pc:sldChg chg="modSp add del mod">
        <pc:chgData name="Anika Zimmermann" userId="7fdd1538-c1e4-4452-90e6-0d5f35999fb8" providerId="ADAL" clId="{741D8CC8-F595-45A2-A6A7-A0D34E928C32}" dt="2025-01-24T08:57:56.652" v="4"/>
        <pc:sldMkLst>
          <pc:docMk/>
          <pc:sldMk cId="3594883228" sldId="267"/>
        </pc:sldMkLst>
        <pc:graphicFrameChg chg="mod">
          <ac:chgData name="Anika Zimmermann" userId="7fdd1538-c1e4-4452-90e6-0d5f35999fb8" providerId="ADAL" clId="{741D8CC8-F595-45A2-A6A7-A0D34E928C32}" dt="2025-01-24T08:57:56.652" v="4"/>
          <ac:graphicFrameMkLst>
            <pc:docMk/>
            <pc:sldMk cId="3594883228" sldId="267"/>
            <ac:graphicFrameMk id="4" creationId="{B131110A-B915-1789-85F1-BBC365D414D1}"/>
          </ac:graphicFrameMkLst>
        </pc:graphicFrameChg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3367348518" sldId="268"/>
        </pc:sldMkLst>
      </pc:sldChg>
      <pc:sldChg chg="del">
        <pc:chgData name="Anika Zimmermann" userId="7fdd1538-c1e4-4452-90e6-0d5f35999fb8" providerId="ADAL" clId="{741D8CC8-F595-45A2-A6A7-A0D34E928C32}" dt="2025-01-21T12:38:34.307" v="0" actId="2696"/>
        <pc:sldMkLst>
          <pc:docMk/>
          <pc:sldMk cId="3057222654" sldId="269"/>
        </pc:sldMkLst>
      </pc:sldChg>
    </pc:docChg>
  </pc:docChgLst>
  <pc:docChgLst>
    <pc:chgData name="Marielle Berktold" userId="06eb6efe-c237-487d-9e7f-9fba4d0955d6" providerId="ADAL" clId="{5080EA4B-8F44-4EF7-9678-77265221D523}"/>
    <pc:docChg chg="undo redo custSel addSld delSld modSld sldOrd addSection modSection">
      <pc:chgData name="Marielle Berktold" userId="06eb6efe-c237-487d-9e7f-9fba4d0955d6" providerId="ADAL" clId="{5080EA4B-8F44-4EF7-9678-77265221D523}" dt="2025-02-20T11:32:25.049" v="3071"/>
      <pc:docMkLst>
        <pc:docMk/>
      </pc:docMkLst>
      <pc:sldChg chg="addSp delSp modSp mod ord">
        <pc:chgData name="Marielle Berktold" userId="06eb6efe-c237-487d-9e7f-9fba4d0955d6" providerId="ADAL" clId="{5080EA4B-8F44-4EF7-9678-77265221D523}" dt="2025-02-20T11:32:11.256" v="3067"/>
        <pc:sldMkLst>
          <pc:docMk/>
          <pc:sldMk cId="2823377576" sldId="264"/>
        </pc:sldMkLst>
        <pc:spChg chg="add mod">
          <ac:chgData name="Marielle Berktold" userId="06eb6efe-c237-487d-9e7f-9fba4d0955d6" providerId="ADAL" clId="{5080EA4B-8F44-4EF7-9678-77265221D523}" dt="2025-02-20T10:42:13.385" v="2167" actId="14100"/>
          <ac:spMkLst>
            <pc:docMk/>
            <pc:sldMk cId="2823377576" sldId="264"/>
            <ac:spMk id="2" creationId="{0D826063-78F1-14FC-9450-4F217729C096}"/>
          </ac:spMkLst>
        </pc:spChg>
        <pc:spChg chg="add mod">
          <ac:chgData name="Marielle Berktold" userId="06eb6efe-c237-487d-9e7f-9fba4d0955d6" providerId="ADAL" clId="{5080EA4B-8F44-4EF7-9678-77265221D523}" dt="2025-02-20T10:42:16.762" v="2168" actId="14100"/>
          <ac:spMkLst>
            <pc:docMk/>
            <pc:sldMk cId="2823377576" sldId="264"/>
            <ac:spMk id="3" creationId="{389DF964-FFA7-A4A6-A223-3B6129973A74}"/>
          </ac:spMkLst>
        </pc:spChg>
        <pc:spChg chg="add mod">
          <ac:chgData name="Marielle Berktold" userId="06eb6efe-c237-487d-9e7f-9fba4d0955d6" providerId="ADAL" clId="{5080EA4B-8F44-4EF7-9678-77265221D523}" dt="2025-02-20T10:42:04.700" v="2165" actId="164"/>
          <ac:spMkLst>
            <pc:docMk/>
            <pc:sldMk cId="2823377576" sldId="264"/>
            <ac:spMk id="5" creationId="{BBA7BA72-5CE2-EF21-57CD-3FEC6CA418B3}"/>
          </ac:spMkLst>
        </pc:spChg>
        <pc:spChg chg="add">
          <ac:chgData name="Marielle Berktold" userId="06eb6efe-c237-487d-9e7f-9fba4d0955d6" providerId="ADAL" clId="{5080EA4B-8F44-4EF7-9678-77265221D523}" dt="2025-02-20T10:41:07.984" v="2156"/>
          <ac:spMkLst>
            <pc:docMk/>
            <pc:sldMk cId="2823377576" sldId="264"/>
            <ac:spMk id="6" creationId="{FABFB1F3-4C11-F4EF-AC1A-55F6FF666933}"/>
          </ac:spMkLst>
        </pc:spChg>
        <pc:spChg chg="add mod">
          <ac:chgData name="Marielle Berktold" userId="06eb6efe-c237-487d-9e7f-9fba4d0955d6" providerId="ADAL" clId="{5080EA4B-8F44-4EF7-9678-77265221D523}" dt="2025-02-20T10:42:04.700" v="2165" actId="164"/>
          <ac:spMkLst>
            <pc:docMk/>
            <pc:sldMk cId="2823377576" sldId="264"/>
            <ac:spMk id="7" creationId="{EDE7F2F1-28D0-7F5C-0469-0631617D976C}"/>
          </ac:spMkLst>
        </pc:spChg>
        <pc:spChg chg="mod">
          <ac:chgData name="Marielle Berktold" userId="06eb6efe-c237-487d-9e7f-9fba4d0955d6" providerId="ADAL" clId="{5080EA4B-8F44-4EF7-9678-77265221D523}" dt="2025-02-17T11:25:16.956" v="1336"/>
          <ac:spMkLst>
            <pc:docMk/>
            <pc:sldMk cId="2823377576" sldId="264"/>
            <ac:spMk id="9" creationId="{5CFCB2CC-1EA9-E060-E055-2CAA23972A7E}"/>
          </ac:spMkLst>
        </pc:spChg>
        <pc:spChg chg="mod">
          <ac:chgData name="Marielle Berktold" userId="06eb6efe-c237-487d-9e7f-9fba4d0955d6" providerId="ADAL" clId="{5080EA4B-8F44-4EF7-9678-77265221D523}" dt="2025-02-17T11:25:16.956" v="1336"/>
          <ac:spMkLst>
            <pc:docMk/>
            <pc:sldMk cId="2823377576" sldId="264"/>
            <ac:spMk id="10" creationId="{B6664F50-735F-C0F5-86C0-65DFE629CB2F}"/>
          </ac:spMkLst>
        </pc:spChg>
        <pc:spChg chg="add">
          <ac:chgData name="Marielle Berktold" userId="06eb6efe-c237-487d-9e7f-9fba4d0955d6" providerId="ADAL" clId="{5080EA4B-8F44-4EF7-9678-77265221D523}" dt="2025-02-20T10:41:13.550" v="2157"/>
          <ac:spMkLst>
            <pc:docMk/>
            <pc:sldMk cId="2823377576" sldId="264"/>
            <ac:spMk id="11" creationId="{4EAB0507-A495-EB15-1D7D-A158CF880EC6}"/>
          </ac:spMkLst>
        </pc:spChg>
        <pc:spChg chg="add mod">
          <ac:chgData name="Marielle Berktold" userId="06eb6efe-c237-487d-9e7f-9fba4d0955d6" providerId="ADAL" clId="{5080EA4B-8F44-4EF7-9678-77265221D523}" dt="2025-02-20T10:43:06.769" v="2178" actId="1076"/>
          <ac:spMkLst>
            <pc:docMk/>
            <pc:sldMk cId="2823377576" sldId="264"/>
            <ac:spMk id="12" creationId="{FD09084C-EBD7-F4B4-6C21-493371080A79}"/>
          </ac:spMkLst>
        </pc:spChg>
        <pc:spChg chg="mod">
          <ac:chgData name="Marielle Berktold" userId="06eb6efe-c237-487d-9e7f-9fba4d0955d6" providerId="ADAL" clId="{5080EA4B-8F44-4EF7-9678-77265221D523}" dt="2025-02-17T11:26:11.414" v="1350"/>
          <ac:spMkLst>
            <pc:docMk/>
            <pc:sldMk cId="2823377576" sldId="264"/>
            <ac:spMk id="15" creationId="{17E52AAD-9D5C-8133-0797-2A6DB3A63E8B}"/>
          </ac:spMkLst>
        </pc:spChg>
        <pc:spChg chg="mod">
          <ac:chgData name="Marielle Berktold" userId="06eb6efe-c237-487d-9e7f-9fba4d0955d6" providerId="ADAL" clId="{5080EA4B-8F44-4EF7-9678-77265221D523}" dt="2025-02-17T11:26:11.414" v="1350"/>
          <ac:spMkLst>
            <pc:docMk/>
            <pc:sldMk cId="2823377576" sldId="264"/>
            <ac:spMk id="16" creationId="{0AF0EFF1-605A-4B9B-66A0-DB9F3D02B45D}"/>
          </ac:spMkLst>
        </pc:spChg>
        <pc:spChg chg="mod">
          <ac:chgData name="Marielle Berktold" userId="06eb6efe-c237-487d-9e7f-9fba4d0955d6" providerId="ADAL" clId="{5080EA4B-8F44-4EF7-9678-77265221D523}" dt="2025-02-17T11:26:25.988" v="1361"/>
          <ac:spMkLst>
            <pc:docMk/>
            <pc:sldMk cId="2823377576" sldId="264"/>
            <ac:spMk id="18" creationId="{84F38CC5-285F-3E9D-6DD3-3BD21DF48D46}"/>
          </ac:spMkLst>
        </pc:spChg>
        <pc:spChg chg="mod">
          <ac:chgData name="Marielle Berktold" userId="06eb6efe-c237-487d-9e7f-9fba4d0955d6" providerId="ADAL" clId="{5080EA4B-8F44-4EF7-9678-77265221D523}" dt="2025-02-17T11:26:25.988" v="1361"/>
          <ac:spMkLst>
            <pc:docMk/>
            <pc:sldMk cId="2823377576" sldId="264"/>
            <ac:spMk id="19" creationId="{C4800DFE-1A76-CE50-E738-705D000DEAF1}"/>
          </ac:spMkLst>
        </pc:spChg>
        <pc:grpChg chg="add mod">
          <ac:chgData name="Marielle Berktold" userId="06eb6efe-c237-487d-9e7f-9fba4d0955d6" providerId="ADAL" clId="{5080EA4B-8F44-4EF7-9678-77265221D523}" dt="2025-02-20T10:42:04.700" v="2165" actId="164"/>
          <ac:grpSpMkLst>
            <pc:docMk/>
            <pc:sldMk cId="2823377576" sldId="264"/>
            <ac:grpSpMk id="8" creationId="{22C5907E-5F68-FC83-BA28-FDDC6C11BE74}"/>
          </ac:grpSpMkLst>
        </pc:grpChg>
        <pc:grpChg chg="add mod">
          <ac:chgData name="Marielle Berktold" userId="06eb6efe-c237-487d-9e7f-9fba4d0955d6" providerId="ADAL" clId="{5080EA4B-8F44-4EF7-9678-77265221D523}" dt="2025-02-20T10:42:08.857" v="2166" actId="1076"/>
          <ac:grpSpMkLst>
            <pc:docMk/>
            <pc:sldMk cId="2823377576" sldId="264"/>
            <ac:grpSpMk id="13" creationId="{79A3975C-26FA-F6B3-5E5E-80F507D8FA5A}"/>
          </ac:grpSpMkLst>
        </pc:grpChg>
        <pc:grpChg chg="add mod">
          <ac:chgData name="Marielle Berktold" userId="06eb6efe-c237-487d-9e7f-9fba4d0955d6" providerId="ADAL" clId="{5080EA4B-8F44-4EF7-9678-77265221D523}" dt="2025-02-20T10:42:04.700" v="2165" actId="164"/>
          <ac:grpSpMkLst>
            <pc:docMk/>
            <pc:sldMk cId="2823377576" sldId="264"/>
            <ac:grpSpMk id="14" creationId="{B866D31F-BD4B-5EFA-EEDB-407034F9FA87}"/>
          </ac:grpSpMkLst>
        </pc:grpChg>
        <pc:grpChg chg="add mod">
          <ac:chgData name="Marielle Berktold" userId="06eb6efe-c237-487d-9e7f-9fba4d0955d6" providerId="ADAL" clId="{5080EA4B-8F44-4EF7-9678-77265221D523}" dt="2025-02-20T10:42:04.700" v="2165" actId="164"/>
          <ac:grpSpMkLst>
            <pc:docMk/>
            <pc:sldMk cId="2823377576" sldId="264"/>
            <ac:grpSpMk id="17" creationId="{F72FB28D-0C7F-A640-A9F8-DB5E534A3700}"/>
          </ac:grpSpMkLst>
        </pc:grpChg>
      </pc:sldChg>
      <pc:sldChg chg="addSp delSp modSp mod ord">
        <pc:chgData name="Marielle Berktold" userId="06eb6efe-c237-487d-9e7f-9fba4d0955d6" providerId="ADAL" clId="{5080EA4B-8F44-4EF7-9678-77265221D523}" dt="2025-02-20T11:32:11.256" v="3067"/>
        <pc:sldMkLst>
          <pc:docMk/>
          <pc:sldMk cId="455054425" sldId="266"/>
        </pc:sldMkLst>
        <pc:spChg chg="mod topLvl">
          <ac:chgData name="Marielle Berktold" userId="06eb6efe-c237-487d-9e7f-9fba4d0955d6" providerId="ADAL" clId="{5080EA4B-8F44-4EF7-9678-77265221D523}" dt="2025-02-20T08:49:06.824" v="1830" actId="164"/>
          <ac:spMkLst>
            <pc:docMk/>
            <pc:sldMk cId="455054425" sldId="266"/>
            <ac:spMk id="5" creationId="{CC0092B1-C589-A43D-14CC-871730161C0C}"/>
          </ac:spMkLst>
        </pc:spChg>
        <pc:spChg chg="mod">
          <ac:chgData name="Marielle Berktold" userId="06eb6efe-c237-487d-9e7f-9fba4d0955d6" providerId="ADAL" clId="{5080EA4B-8F44-4EF7-9678-77265221D523}" dt="2025-02-20T08:49:06.824" v="1830" actId="164"/>
          <ac:spMkLst>
            <pc:docMk/>
            <pc:sldMk cId="455054425" sldId="266"/>
            <ac:spMk id="9" creationId="{281509C2-3821-1ED0-2C15-A5F1E79667D7}"/>
          </ac:spMkLst>
        </pc:spChg>
        <pc:spChg chg="mod topLvl">
          <ac:chgData name="Marielle Berktold" userId="06eb6efe-c237-487d-9e7f-9fba4d0955d6" providerId="ADAL" clId="{5080EA4B-8F44-4EF7-9678-77265221D523}" dt="2025-02-20T08:49:06.824" v="1830" actId="164"/>
          <ac:spMkLst>
            <pc:docMk/>
            <pc:sldMk cId="455054425" sldId="266"/>
            <ac:spMk id="10" creationId="{287297A0-9C5A-E28E-95DD-37BBDE1EB6EF}"/>
          </ac:spMkLst>
        </pc:spChg>
        <pc:spChg chg="mod">
          <ac:chgData name="Marielle Berktold" userId="06eb6efe-c237-487d-9e7f-9fba4d0955d6" providerId="ADAL" clId="{5080EA4B-8F44-4EF7-9678-77265221D523}" dt="2025-02-20T08:49:06.824" v="1830" actId="164"/>
          <ac:spMkLst>
            <pc:docMk/>
            <pc:sldMk cId="455054425" sldId="266"/>
            <ac:spMk id="11" creationId="{8B5895F1-5BBF-0330-CCC5-D39BCA687972}"/>
          </ac:spMkLst>
        </pc:spChg>
        <pc:spChg chg="mod topLvl">
          <ac:chgData name="Marielle Berktold" userId="06eb6efe-c237-487d-9e7f-9fba4d0955d6" providerId="ADAL" clId="{5080EA4B-8F44-4EF7-9678-77265221D523}" dt="2025-02-20T08:49:06.824" v="1830" actId="164"/>
          <ac:spMkLst>
            <pc:docMk/>
            <pc:sldMk cId="455054425" sldId="266"/>
            <ac:spMk id="12" creationId="{C621BCB9-732E-1FBA-48C6-050E6AB0241C}"/>
          </ac:spMkLst>
        </pc:spChg>
        <pc:spChg chg="mod">
          <ac:chgData name="Marielle Berktold" userId="06eb6efe-c237-487d-9e7f-9fba4d0955d6" providerId="ADAL" clId="{5080EA4B-8F44-4EF7-9678-77265221D523}" dt="2025-02-20T08:42:54.129" v="1677" actId="165"/>
          <ac:spMkLst>
            <pc:docMk/>
            <pc:sldMk cId="455054425" sldId="266"/>
            <ac:spMk id="13" creationId="{1D89639D-5E02-F0A0-AD5A-0A4A49AD5D19}"/>
          </ac:spMkLst>
        </pc:spChg>
        <pc:spChg chg="mod">
          <ac:chgData name="Marielle Berktold" userId="06eb6efe-c237-487d-9e7f-9fba4d0955d6" providerId="ADAL" clId="{5080EA4B-8F44-4EF7-9678-77265221D523}" dt="2025-02-20T08:42:54.129" v="1677" actId="165"/>
          <ac:spMkLst>
            <pc:docMk/>
            <pc:sldMk cId="455054425" sldId="266"/>
            <ac:spMk id="14" creationId="{58728B12-5C26-6574-2EA4-16F469FCF0DA}"/>
          </ac:spMkLst>
        </pc:spChg>
        <pc:spChg chg="mod">
          <ac:chgData name="Marielle Berktold" userId="06eb6efe-c237-487d-9e7f-9fba4d0955d6" providerId="ADAL" clId="{5080EA4B-8F44-4EF7-9678-77265221D523}" dt="2025-02-20T08:42:54.129" v="1677" actId="165"/>
          <ac:spMkLst>
            <pc:docMk/>
            <pc:sldMk cId="455054425" sldId="266"/>
            <ac:spMk id="16" creationId="{7C60E512-CC7A-5BC4-2D3A-23D4BFA0E8A6}"/>
          </ac:spMkLst>
        </pc:spChg>
        <pc:spChg chg="mod">
          <ac:chgData name="Marielle Berktold" userId="06eb6efe-c237-487d-9e7f-9fba4d0955d6" providerId="ADAL" clId="{5080EA4B-8F44-4EF7-9678-77265221D523}" dt="2025-02-20T08:42:54.129" v="1677" actId="165"/>
          <ac:spMkLst>
            <pc:docMk/>
            <pc:sldMk cId="455054425" sldId="266"/>
            <ac:spMk id="17" creationId="{5D1CC9D5-C8B4-3C52-C68D-AB7811F2B730}"/>
          </ac:spMkLst>
        </pc:spChg>
        <pc:spChg chg="mod">
          <ac:chgData name="Marielle Berktold" userId="06eb6efe-c237-487d-9e7f-9fba4d0955d6" providerId="ADAL" clId="{5080EA4B-8F44-4EF7-9678-77265221D523}" dt="2025-02-20T08:42:54.129" v="1677" actId="165"/>
          <ac:spMkLst>
            <pc:docMk/>
            <pc:sldMk cId="455054425" sldId="266"/>
            <ac:spMk id="18" creationId="{7DD6B1CC-27D0-6A2F-BA2A-1012CA36E893}"/>
          </ac:spMkLst>
        </pc:spChg>
        <pc:spChg chg="mod">
          <ac:chgData name="Marielle Berktold" userId="06eb6efe-c237-487d-9e7f-9fba4d0955d6" providerId="ADAL" clId="{5080EA4B-8F44-4EF7-9678-77265221D523}" dt="2025-02-20T08:42:54.129" v="1677" actId="165"/>
          <ac:spMkLst>
            <pc:docMk/>
            <pc:sldMk cId="455054425" sldId="266"/>
            <ac:spMk id="19" creationId="{8423DB20-27D6-362F-272A-53A0AC9531BB}"/>
          </ac:spMkLst>
        </pc:spChg>
        <pc:spChg chg="mod">
          <ac:chgData name="Marielle Berktold" userId="06eb6efe-c237-487d-9e7f-9fba4d0955d6" providerId="ADAL" clId="{5080EA4B-8F44-4EF7-9678-77265221D523}" dt="2025-02-20T08:42:54.129" v="1677" actId="165"/>
          <ac:spMkLst>
            <pc:docMk/>
            <pc:sldMk cId="455054425" sldId="266"/>
            <ac:spMk id="20" creationId="{E2D690B8-5976-7A78-3681-DF95A23E6DF1}"/>
          </ac:spMkLst>
        </pc:spChg>
        <pc:spChg chg="add mod">
          <ac:chgData name="Marielle Berktold" userId="06eb6efe-c237-487d-9e7f-9fba4d0955d6" providerId="ADAL" clId="{5080EA4B-8F44-4EF7-9678-77265221D523}" dt="2025-02-20T08:50:29.706" v="1879" actId="1035"/>
          <ac:spMkLst>
            <pc:docMk/>
            <pc:sldMk cId="455054425" sldId="266"/>
            <ac:spMk id="21" creationId="{14E341E3-3572-285E-604C-7EDDF7BF13D6}"/>
          </ac:spMkLst>
        </pc:spChg>
        <pc:spChg chg="add mod">
          <ac:chgData name="Marielle Berktold" userId="06eb6efe-c237-487d-9e7f-9fba4d0955d6" providerId="ADAL" clId="{5080EA4B-8F44-4EF7-9678-77265221D523}" dt="2025-02-20T10:13:27.579" v="2136" actId="1036"/>
          <ac:spMkLst>
            <pc:docMk/>
            <pc:sldMk cId="455054425" sldId="266"/>
            <ac:spMk id="22" creationId="{04367AF9-EFF1-083D-15F1-76CF8728407C}"/>
          </ac:spMkLst>
        </pc:spChg>
        <pc:spChg chg="add mod">
          <ac:chgData name="Marielle Berktold" userId="06eb6efe-c237-487d-9e7f-9fba4d0955d6" providerId="ADAL" clId="{5080EA4B-8F44-4EF7-9678-77265221D523}" dt="2025-02-20T10:48:20.980" v="2202" actId="14100"/>
          <ac:spMkLst>
            <pc:docMk/>
            <pc:sldMk cId="455054425" sldId="266"/>
            <ac:spMk id="23" creationId="{38D959BD-8966-E358-5F91-BFBD368C8584}"/>
          </ac:spMkLst>
        </pc:spChg>
        <pc:spChg chg="add mod">
          <ac:chgData name="Marielle Berktold" userId="06eb6efe-c237-487d-9e7f-9fba4d0955d6" providerId="ADAL" clId="{5080EA4B-8F44-4EF7-9678-77265221D523}" dt="2025-02-20T08:49:06.824" v="1830" actId="164"/>
          <ac:spMkLst>
            <pc:docMk/>
            <pc:sldMk cId="455054425" sldId="266"/>
            <ac:spMk id="25" creationId="{BD9FCEB8-0125-3D3E-6902-287263A5AFE3}"/>
          </ac:spMkLst>
        </pc:spChg>
        <pc:spChg chg="mod">
          <ac:chgData name="Marielle Berktold" userId="06eb6efe-c237-487d-9e7f-9fba4d0955d6" providerId="ADAL" clId="{5080EA4B-8F44-4EF7-9678-77265221D523}" dt="2025-02-20T08:44:23.070" v="1733"/>
          <ac:spMkLst>
            <pc:docMk/>
            <pc:sldMk cId="455054425" sldId="266"/>
            <ac:spMk id="27" creationId="{69ADBE15-FCB6-36F8-9280-1DF18013EA90}"/>
          </ac:spMkLst>
        </pc:spChg>
        <pc:spChg chg="mod">
          <ac:chgData name="Marielle Berktold" userId="06eb6efe-c237-487d-9e7f-9fba4d0955d6" providerId="ADAL" clId="{5080EA4B-8F44-4EF7-9678-77265221D523}" dt="2025-02-20T08:44:23.070" v="1733"/>
          <ac:spMkLst>
            <pc:docMk/>
            <pc:sldMk cId="455054425" sldId="266"/>
            <ac:spMk id="28" creationId="{BD651CFC-8316-A375-4106-063E0EF21B5A}"/>
          </ac:spMkLst>
        </pc:spChg>
        <pc:spChg chg="mod">
          <ac:chgData name="Marielle Berktold" userId="06eb6efe-c237-487d-9e7f-9fba4d0955d6" providerId="ADAL" clId="{5080EA4B-8F44-4EF7-9678-77265221D523}" dt="2025-02-20T08:47:07.295" v="1772" actId="208"/>
          <ac:spMkLst>
            <pc:docMk/>
            <pc:sldMk cId="455054425" sldId="266"/>
            <ac:spMk id="30" creationId="{14A91DD0-1DA3-10BF-DC9B-A4A4F2C52A1C}"/>
          </ac:spMkLst>
        </pc:spChg>
        <pc:spChg chg="mod">
          <ac:chgData name="Marielle Berktold" userId="06eb6efe-c237-487d-9e7f-9fba4d0955d6" providerId="ADAL" clId="{5080EA4B-8F44-4EF7-9678-77265221D523}" dt="2025-02-20T08:49:51.107" v="1841" actId="165"/>
          <ac:spMkLst>
            <pc:docMk/>
            <pc:sldMk cId="455054425" sldId="266"/>
            <ac:spMk id="31" creationId="{B2794865-3D80-3995-E85A-B4123F89D069}"/>
          </ac:spMkLst>
        </pc:spChg>
        <pc:spChg chg="mod">
          <ac:chgData name="Marielle Berktold" userId="06eb6efe-c237-487d-9e7f-9fba4d0955d6" providerId="ADAL" clId="{5080EA4B-8F44-4EF7-9678-77265221D523}" dt="2025-02-20T08:49:51.107" v="1841" actId="165"/>
          <ac:spMkLst>
            <pc:docMk/>
            <pc:sldMk cId="455054425" sldId="266"/>
            <ac:spMk id="33" creationId="{E0B93688-80B1-DD1E-0696-79B6E7A7576A}"/>
          </ac:spMkLst>
        </pc:spChg>
        <pc:spChg chg="mod">
          <ac:chgData name="Marielle Berktold" userId="06eb6efe-c237-487d-9e7f-9fba4d0955d6" providerId="ADAL" clId="{5080EA4B-8F44-4EF7-9678-77265221D523}" dt="2025-02-20T08:49:51.107" v="1841" actId="165"/>
          <ac:spMkLst>
            <pc:docMk/>
            <pc:sldMk cId="455054425" sldId="266"/>
            <ac:spMk id="34" creationId="{44F5D984-FC16-44DD-D053-EEBA01285C47}"/>
          </ac:spMkLst>
        </pc:spChg>
        <pc:spChg chg="mod">
          <ac:chgData name="Marielle Berktold" userId="06eb6efe-c237-487d-9e7f-9fba4d0955d6" providerId="ADAL" clId="{5080EA4B-8F44-4EF7-9678-77265221D523}" dt="2025-02-20T08:49:51.107" v="1841" actId="165"/>
          <ac:spMkLst>
            <pc:docMk/>
            <pc:sldMk cId="455054425" sldId="266"/>
            <ac:spMk id="37" creationId="{C346C768-CD9C-1703-0A97-BDEBF5D74497}"/>
          </ac:spMkLst>
        </pc:spChg>
        <pc:spChg chg="add mod topLvl">
          <ac:chgData name="Marielle Berktold" userId="06eb6efe-c237-487d-9e7f-9fba4d0955d6" providerId="ADAL" clId="{5080EA4B-8F44-4EF7-9678-77265221D523}" dt="2025-02-20T08:49:56.843" v="1842" actId="164"/>
          <ac:spMkLst>
            <pc:docMk/>
            <pc:sldMk cId="455054425" sldId="266"/>
            <ac:spMk id="38" creationId="{604D9426-A50B-B8CB-3B69-BE16A7772AAD}"/>
          </ac:spMkLst>
        </pc:spChg>
        <pc:spChg chg="add mod topLvl">
          <ac:chgData name="Marielle Berktold" userId="06eb6efe-c237-487d-9e7f-9fba4d0955d6" providerId="ADAL" clId="{5080EA4B-8F44-4EF7-9678-77265221D523}" dt="2025-02-20T08:49:56.843" v="1842" actId="164"/>
          <ac:spMkLst>
            <pc:docMk/>
            <pc:sldMk cId="455054425" sldId="266"/>
            <ac:spMk id="39" creationId="{3A541A65-A103-AFBA-F53B-5646F200F579}"/>
          </ac:spMkLst>
        </pc:spChg>
        <pc:spChg chg="add mod">
          <ac:chgData name="Marielle Berktold" userId="06eb6efe-c237-487d-9e7f-9fba4d0955d6" providerId="ADAL" clId="{5080EA4B-8F44-4EF7-9678-77265221D523}" dt="2025-02-20T08:49:56.843" v="1842" actId="164"/>
          <ac:spMkLst>
            <pc:docMk/>
            <pc:sldMk cId="455054425" sldId="266"/>
            <ac:spMk id="40" creationId="{9A15D7EE-D36B-C7BB-E882-82B80F1AD741}"/>
          </ac:spMkLst>
        </pc:spChg>
        <pc:spChg chg="add mod topLvl">
          <ac:chgData name="Marielle Berktold" userId="06eb6efe-c237-487d-9e7f-9fba4d0955d6" providerId="ADAL" clId="{5080EA4B-8F44-4EF7-9678-77265221D523}" dt="2025-02-20T08:49:56.843" v="1842" actId="164"/>
          <ac:spMkLst>
            <pc:docMk/>
            <pc:sldMk cId="455054425" sldId="266"/>
            <ac:spMk id="41" creationId="{6505E411-2243-0B54-C6AE-8B2C69D387D0}"/>
          </ac:spMkLst>
        </pc:spChg>
        <pc:spChg chg="mod">
          <ac:chgData name="Marielle Berktold" userId="06eb6efe-c237-487d-9e7f-9fba4d0955d6" providerId="ADAL" clId="{5080EA4B-8F44-4EF7-9678-77265221D523}" dt="2025-02-20T08:49:56.843" v="1842" actId="164"/>
          <ac:spMkLst>
            <pc:docMk/>
            <pc:sldMk cId="455054425" sldId="266"/>
            <ac:spMk id="42" creationId="{0FCA5455-E039-0721-4471-D21206269C88}"/>
          </ac:spMkLst>
        </pc:spChg>
        <pc:spChg chg="mod">
          <ac:chgData name="Marielle Berktold" userId="06eb6efe-c237-487d-9e7f-9fba4d0955d6" providerId="ADAL" clId="{5080EA4B-8F44-4EF7-9678-77265221D523}" dt="2025-02-20T08:49:56.843" v="1842" actId="164"/>
          <ac:spMkLst>
            <pc:docMk/>
            <pc:sldMk cId="455054425" sldId="266"/>
            <ac:spMk id="43" creationId="{403C731D-5F58-E90B-7359-478472A9ABD2}"/>
          </ac:spMkLst>
        </pc:spChg>
        <pc:spChg chg="mod">
          <ac:chgData name="Marielle Berktold" userId="06eb6efe-c237-487d-9e7f-9fba4d0955d6" providerId="ADAL" clId="{5080EA4B-8F44-4EF7-9678-77265221D523}" dt="2025-02-20T08:45:22.441" v="1741"/>
          <ac:spMkLst>
            <pc:docMk/>
            <pc:sldMk cId="455054425" sldId="266"/>
            <ac:spMk id="48" creationId="{AFE3AE09-F84A-8260-AE69-BDA19C24591B}"/>
          </ac:spMkLst>
        </pc:spChg>
        <pc:spChg chg="mod">
          <ac:chgData name="Marielle Berktold" userId="06eb6efe-c237-487d-9e7f-9fba4d0955d6" providerId="ADAL" clId="{5080EA4B-8F44-4EF7-9678-77265221D523}" dt="2025-02-20T08:45:22.441" v="1741"/>
          <ac:spMkLst>
            <pc:docMk/>
            <pc:sldMk cId="455054425" sldId="266"/>
            <ac:spMk id="49" creationId="{E1FCEFBE-C044-D764-6B24-868A233DD3A6}"/>
          </ac:spMkLst>
        </pc:spChg>
        <pc:spChg chg="mod">
          <ac:chgData name="Marielle Berktold" userId="06eb6efe-c237-487d-9e7f-9fba4d0955d6" providerId="ADAL" clId="{5080EA4B-8F44-4EF7-9678-77265221D523}" dt="2025-02-20T08:46:38.113" v="1765"/>
          <ac:spMkLst>
            <pc:docMk/>
            <pc:sldMk cId="455054425" sldId="266"/>
            <ac:spMk id="51" creationId="{0541C888-9EA7-EB95-6877-FCDFC505DA71}"/>
          </ac:spMkLst>
        </pc:spChg>
        <pc:spChg chg="mod">
          <ac:chgData name="Marielle Berktold" userId="06eb6efe-c237-487d-9e7f-9fba4d0955d6" providerId="ADAL" clId="{5080EA4B-8F44-4EF7-9678-77265221D523}" dt="2025-02-20T08:49:51.107" v="1841" actId="165"/>
          <ac:spMkLst>
            <pc:docMk/>
            <pc:sldMk cId="455054425" sldId="266"/>
            <ac:spMk id="52" creationId="{FA9CADE7-BAFA-6E42-A712-171955AD0C1D}"/>
          </ac:spMkLst>
        </pc:spChg>
        <pc:spChg chg="mod">
          <ac:chgData name="Marielle Berktold" userId="06eb6efe-c237-487d-9e7f-9fba4d0955d6" providerId="ADAL" clId="{5080EA4B-8F44-4EF7-9678-77265221D523}" dt="2025-02-20T08:49:51.107" v="1841" actId="165"/>
          <ac:spMkLst>
            <pc:docMk/>
            <pc:sldMk cId="455054425" sldId="266"/>
            <ac:spMk id="54" creationId="{ABE165B1-7CCD-08B7-0D77-D319671C7714}"/>
          </ac:spMkLst>
        </pc:spChg>
        <pc:spChg chg="mod">
          <ac:chgData name="Marielle Berktold" userId="06eb6efe-c237-487d-9e7f-9fba4d0955d6" providerId="ADAL" clId="{5080EA4B-8F44-4EF7-9678-77265221D523}" dt="2025-02-20T08:49:51.107" v="1841" actId="165"/>
          <ac:spMkLst>
            <pc:docMk/>
            <pc:sldMk cId="455054425" sldId="266"/>
            <ac:spMk id="55" creationId="{F5A4B048-D288-B963-1994-C3AE09BC0DFD}"/>
          </ac:spMkLst>
        </pc:spChg>
        <pc:grpChg chg="mod">
          <ac:chgData name="Marielle Berktold" userId="06eb6efe-c237-487d-9e7f-9fba4d0955d6" providerId="ADAL" clId="{5080EA4B-8F44-4EF7-9678-77265221D523}" dt="2025-02-20T08:40:31.345" v="1547" actId="1035"/>
          <ac:grpSpMkLst>
            <pc:docMk/>
            <pc:sldMk cId="455054425" sldId="266"/>
            <ac:grpSpMk id="2" creationId="{443A1DB5-9B4C-CFD1-69AF-E8F357B4F9CF}"/>
          </ac:grpSpMkLst>
        </pc:grpChg>
        <pc:grpChg chg="mod">
          <ac:chgData name="Marielle Berktold" userId="06eb6efe-c237-487d-9e7f-9fba4d0955d6" providerId="ADAL" clId="{5080EA4B-8F44-4EF7-9678-77265221D523}" dt="2025-02-20T08:49:06.824" v="1830" actId="164"/>
          <ac:grpSpMkLst>
            <pc:docMk/>
            <pc:sldMk cId="455054425" sldId="266"/>
            <ac:grpSpMk id="6" creationId="{62309946-15F2-B0B2-0C82-402F9124D822}"/>
          </ac:grpSpMkLst>
        </pc:grpChg>
        <pc:grpChg chg="mod">
          <ac:chgData name="Marielle Berktold" userId="06eb6efe-c237-487d-9e7f-9fba4d0955d6" providerId="ADAL" clId="{5080EA4B-8F44-4EF7-9678-77265221D523}" dt="2025-02-20T08:49:06.824" v="1830" actId="164"/>
          <ac:grpSpMkLst>
            <pc:docMk/>
            <pc:sldMk cId="455054425" sldId="266"/>
            <ac:grpSpMk id="7" creationId="{5F84B3FB-3212-CC4A-4ED5-CA234F3369C1}"/>
          </ac:grpSpMkLst>
        </pc:grpChg>
        <pc:grpChg chg="mod">
          <ac:chgData name="Marielle Berktold" userId="06eb6efe-c237-487d-9e7f-9fba4d0955d6" providerId="ADAL" clId="{5080EA4B-8F44-4EF7-9678-77265221D523}" dt="2025-02-20T08:49:06.824" v="1830" actId="164"/>
          <ac:grpSpMkLst>
            <pc:docMk/>
            <pc:sldMk cId="455054425" sldId="266"/>
            <ac:grpSpMk id="8" creationId="{4E95EA5E-5B17-62CD-AA3B-F167AACCC4BF}"/>
          </ac:grpSpMkLst>
        </pc:grpChg>
        <pc:grpChg chg="add mod">
          <ac:chgData name="Marielle Berktold" userId="06eb6efe-c237-487d-9e7f-9fba4d0955d6" providerId="ADAL" clId="{5080EA4B-8F44-4EF7-9678-77265221D523}" dt="2025-02-20T08:49:06.824" v="1830" actId="164"/>
          <ac:grpSpMkLst>
            <pc:docMk/>
            <pc:sldMk cId="455054425" sldId="266"/>
            <ac:grpSpMk id="26" creationId="{B467F131-EC9F-842A-3FC7-F54633097D61}"/>
          </ac:grpSpMkLst>
        </pc:grpChg>
        <pc:grpChg chg="mod">
          <ac:chgData name="Marielle Berktold" userId="06eb6efe-c237-487d-9e7f-9fba4d0955d6" providerId="ADAL" clId="{5080EA4B-8F44-4EF7-9678-77265221D523}" dt="2025-02-20T08:49:40.816" v="1836" actId="164"/>
          <ac:grpSpMkLst>
            <pc:docMk/>
            <pc:sldMk cId="455054425" sldId="266"/>
            <ac:grpSpMk id="29" creationId="{C685E028-6768-7071-2D70-42890CAFA2F5}"/>
          </ac:grpSpMkLst>
        </pc:grpChg>
        <pc:grpChg chg="mod">
          <ac:chgData name="Marielle Berktold" userId="06eb6efe-c237-487d-9e7f-9fba4d0955d6" providerId="ADAL" clId="{5080EA4B-8F44-4EF7-9678-77265221D523}" dt="2025-02-20T08:48:25.245" v="1825" actId="1035"/>
          <ac:grpSpMkLst>
            <pc:docMk/>
            <pc:sldMk cId="455054425" sldId="266"/>
            <ac:grpSpMk id="32" creationId="{CD995CB3-B713-8292-C203-EE86260155DE}"/>
          </ac:grpSpMkLst>
        </pc:grpChg>
        <pc:grpChg chg="mod">
          <ac:chgData name="Marielle Berktold" userId="06eb6efe-c237-487d-9e7f-9fba4d0955d6" providerId="ADAL" clId="{5080EA4B-8F44-4EF7-9678-77265221D523}" dt="2025-02-20T08:49:56.843" v="1842" actId="164"/>
          <ac:grpSpMkLst>
            <pc:docMk/>
            <pc:sldMk cId="455054425" sldId="266"/>
            <ac:grpSpMk id="35" creationId="{79E92B80-FA89-DB34-9FF3-A4234A28E2C8}"/>
          </ac:grpSpMkLst>
        </pc:grpChg>
        <pc:grpChg chg="del mod">
          <ac:chgData name="Marielle Berktold" userId="06eb6efe-c237-487d-9e7f-9fba4d0955d6" providerId="ADAL" clId="{5080EA4B-8F44-4EF7-9678-77265221D523}" dt="2025-02-20T08:46:35.282" v="1764" actId="478"/>
          <ac:grpSpMkLst>
            <pc:docMk/>
            <pc:sldMk cId="455054425" sldId="266"/>
            <ac:grpSpMk id="44" creationId="{A89B3651-A921-374F-D3D1-90D1BC0F0BC6}"/>
          </ac:grpSpMkLst>
        </pc:grpChg>
        <pc:grpChg chg="del mod">
          <ac:chgData name="Marielle Berktold" userId="06eb6efe-c237-487d-9e7f-9fba4d0955d6" providerId="ADAL" clId="{5080EA4B-8F44-4EF7-9678-77265221D523}" dt="2025-02-20T08:46:32.748" v="1763" actId="478"/>
          <ac:grpSpMkLst>
            <pc:docMk/>
            <pc:sldMk cId="455054425" sldId="266"/>
            <ac:grpSpMk id="47" creationId="{624A674D-9D6C-C099-39CB-DE9788A2D3CB}"/>
          </ac:grpSpMkLst>
        </pc:grpChg>
        <pc:grpChg chg="add mod">
          <ac:chgData name="Marielle Berktold" userId="06eb6efe-c237-487d-9e7f-9fba4d0955d6" providerId="ADAL" clId="{5080EA4B-8F44-4EF7-9678-77265221D523}" dt="2025-02-20T08:49:56.843" v="1842" actId="164"/>
          <ac:grpSpMkLst>
            <pc:docMk/>
            <pc:sldMk cId="455054425" sldId="266"/>
            <ac:grpSpMk id="50" creationId="{DF41373E-8C3C-224B-5842-4D30C6290F1B}"/>
          </ac:grpSpMkLst>
        </pc:grpChg>
        <pc:grpChg chg="add mod">
          <ac:chgData name="Marielle Berktold" userId="06eb6efe-c237-487d-9e7f-9fba4d0955d6" providerId="ADAL" clId="{5080EA4B-8F44-4EF7-9678-77265221D523}" dt="2025-02-20T08:49:56.843" v="1842" actId="164"/>
          <ac:grpSpMkLst>
            <pc:docMk/>
            <pc:sldMk cId="455054425" sldId="266"/>
            <ac:grpSpMk id="53" creationId="{00DEEC80-5352-6DC1-7292-432B3E774C61}"/>
          </ac:grpSpMkLst>
        </pc:grpChg>
        <pc:grpChg chg="del mod">
          <ac:chgData name="Marielle Berktold" userId="06eb6efe-c237-487d-9e7f-9fba4d0955d6" providerId="ADAL" clId="{5080EA4B-8F44-4EF7-9678-77265221D523}" dt="2025-02-20T08:49:27.901" v="1835" actId="478"/>
          <ac:grpSpMkLst>
            <pc:docMk/>
            <pc:sldMk cId="455054425" sldId="266"/>
            <ac:grpSpMk id="56" creationId="{E10368C1-C939-AE00-270F-BF05F8BE8595}"/>
          </ac:grpSpMkLst>
        </pc:grpChg>
        <pc:grpChg chg="add mod">
          <ac:chgData name="Marielle Berktold" userId="06eb6efe-c237-487d-9e7f-9fba4d0955d6" providerId="ADAL" clId="{5080EA4B-8F44-4EF7-9678-77265221D523}" dt="2025-02-20T08:49:47.800" v="1840" actId="1076"/>
          <ac:grpSpMkLst>
            <pc:docMk/>
            <pc:sldMk cId="455054425" sldId="266"/>
            <ac:grpSpMk id="57" creationId="{9808B2E8-36DF-B0A5-D0EB-2712310424E7}"/>
          </ac:grpSpMkLst>
        </pc:grpChg>
        <pc:grpChg chg="add mod">
          <ac:chgData name="Marielle Berktold" userId="06eb6efe-c237-487d-9e7f-9fba4d0955d6" providerId="ADAL" clId="{5080EA4B-8F44-4EF7-9678-77265221D523}" dt="2025-02-20T08:50:34.616" v="1893" actId="1035"/>
          <ac:grpSpMkLst>
            <pc:docMk/>
            <pc:sldMk cId="455054425" sldId="266"/>
            <ac:grpSpMk id="58" creationId="{17101F63-EA7B-3791-3A52-ED6DF35EA43F}"/>
          </ac:grpSpMkLst>
        </pc:grpChg>
        <pc:cxnChg chg="add mod">
          <ac:chgData name="Marielle Berktold" userId="06eb6efe-c237-487d-9e7f-9fba4d0955d6" providerId="ADAL" clId="{5080EA4B-8F44-4EF7-9678-77265221D523}" dt="2025-02-20T10:13:27.579" v="2136" actId="1036"/>
          <ac:cxnSpMkLst>
            <pc:docMk/>
            <pc:sldMk cId="455054425" sldId="266"/>
            <ac:cxnSpMk id="24" creationId="{AF6882C1-32AE-ACC1-52AD-C6BE953580AB}"/>
          </ac:cxnSpMkLst>
        </pc:cxnChg>
      </pc:sldChg>
      <pc:sldChg chg="ord">
        <pc:chgData name="Marielle Berktold" userId="06eb6efe-c237-487d-9e7f-9fba4d0955d6" providerId="ADAL" clId="{5080EA4B-8F44-4EF7-9678-77265221D523}" dt="2025-02-20T11:32:11.256" v="3067"/>
        <pc:sldMkLst>
          <pc:docMk/>
          <pc:sldMk cId="3594883228" sldId="267"/>
        </pc:sldMkLst>
      </pc:sldChg>
      <pc:sldChg chg="ord">
        <pc:chgData name="Marielle Berktold" userId="06eb6efe-c237-487d-9e7f-9fba4d0955d6" providerId="ADAL" clId="{5080EA4B-8F44-4EF7-9678-77265221D523}" dt="2025-02-20T11:32:11.256" v="3067"/>
        <pc:sldMkLst>
          <pc:docMk/>
          <pc:sldMk cId="3692821635" sldId="268"/>
        </pc:sldMkLst>
      </pc:sldChg>
      <pc:sldChg chg="addSp delSp modSp mod ord">
        <pc:chgData name="Marielle Berktold" userId="06eb6efe-c237-487d-9e7f-9fba4d0955d6" providerId="ADAL" clId="{5080EA4B-8F44-4EF7-9678-77265221D523}" dt="2025-02-20T11:32:11.256" v="3067"/>
        <pc:sldMkLst>
          <pc:docMk/>
          <pc:sldMk cId="59323818" sldId="269"/>
        </pc:sldMkLst>
        <pc:spChg chg="mod">
          <ac:chgData name="Marielle Berktold" userId="06eb6efe-c237-487d-9e7f-9fba4d0955d6" providerId="ADAL" clId="{5080EA4B-8F44-4EF7-9678-77265221D523}" dt="2025-02-10T09:25:53.623" v="1208" actId="113"/>
          <ac:spMkLst>
            <pc:docMk/>
            <pc:sldMk cId="59323818" sldId="269"/>
            <ac:spMk id="7" creationId="{BB62ED78-9C5F-2CB2-FC0F-F6AC9B4479F6}"/>
          </ac:spMkLst>
        </pc:spChg>
        <pc:spChg chg="mod">
          <ac:chgData name="Marielle Berktold" userId="06eb6efe-c237-487d-9e7f-9fba4d0955d6" providerId="ADAL" clId="{5080EA4B-8F44-4EF7-9678-77265221D523}" dt="2025-02-17T11:09:46.724" v="1223" actId="14100"/>
          <ac:spMkLst>
            <pc:docMk/>
            <pc:sldMk cId="59323818" sldId="269"/>
            <ac:spMk id="9" creationId="{463FE41E-51CB-583F-43FC-C1566321097F}"/>
          </ac:spMkLst>
        </pc:spChg>
        <pc:spChg chg="mod">
          <ac:chgData name="Marielle Berktold" userId="06eb6efe-c237-487d-9e7f-9fba4d0955d6" providerId="ADAL" clId="{5080EA4B-8F44-4EF7-9678-77265221D523}" dt="2025-02-20T11:30:00.710" v="3063" actId="14100"/>
          <ac:spMkLst>
            <pc:docMk/>
            <pc:sldMk cId="59323818" sldId="269"/>
            <ac:spMk id="10" creationId="{019B3715-7BC9-8269-4238-B4A21665F33F}"/>
          </ac:spMkLst>
        </pc:spChg>
        <pc:spChg chg="mod">
          <ac:chgData name="Marielle Berktold" userId="06eb6efe-c237-487d-9e7f-9fba4d0955d6" providerId="ADAL" clId="{5080EA4B-8F44-4EF7-9678-77265221D523}" dt="2025-02-10T09:20:52.115" v="1190" actId="164"/>
          <ac:spMkLst>
            <pc:docMk/>
            <pc:sldMk cId="59323818" sldId="269"/>
            <ac:spMk id="11" creationId="{7D88A65A-57BC-4AC7-53CA-5975E04B9A78}"/>
          </ac:spMkLst>
        </pc:spChg>
        <pc:grpChg chg="mod">
          <ac:chgData name="Marielle Berktold" userId="06eb6efe-c237-487d-9e7f-9fba4d0955d6" providerId="ADAL" clId="{5080EA4B-8F44-4EF7-9678-77265221D523}" dt="2025-02-10T09:20:52.115" v="1190" actId="164"/>
          <ac:grpSpMkLst>
            <pc:docMk/>
            <pc:sldMk cId="59323818" sldId="269"/>
            <ac:grpSpMk id="12" creationId="{AA4E0107-6ED0-D377-0267-EA5DDD399F80}"/>
          </ac:grpSpMkLst>
        </pc:grpChg>
        <pc:grpChg chg="add mod">
          <ac:chgData name="Marielle Berktold" userId="06eb6efe-c237-487d-9e7f-9fba4d0955d6" providerId="ADAL" clId="{5080EA4B-8F44-4EF7-9678-77265221D523}" dt="2025-02-20T11:29:47.177" v="3060" actId="1076"/>
          <ac:grpSpMkLst>
            <pc:docMk/>
            <pc:sldMk cId="59323818" sldId="269"/>
            <ac:grpSpMk id="17" creationId="{5EB63D9C-0416-55D2-A859-FC0C66CC3D0B}"/>
          </ac:grpSpMkLst>
        </pc:grpChg>
        <pc:grpChg chg="add mod">
          <ac:chgData name="Marielle Berktold" userId="06eb6efe-c237-487d-9e7f-9fba4d0955d6" providerId="ADAL" clId="{5080EA4B-8F44-4EF7-9678-77265221D523}" dt="2025-02-17T11:09:55.723" v="1224" actId="164"/>
          <ac:grpSpMkLst>
            <pc:docMk/>
            <pc:sldMk cId="59323818" sldId="269"/>
            <ac:grpSpMk id="19" creationId="{7CC2102E-673E-1418-C33F-97B2D5F4F268}"/>
          </ac:grpSpMkLst>
        </pc:grpChg>
        <pc:picChg chg="add mod modCrop">
          <ac:chgData name="Marielle Berktold" userId="06eb6efe-c237-487d-9e7f-9fba4d0955d6" providerId="ADAL" clId="{5080EA4B-8F44-4EF7-9678-77265221D523}" dt="2025-02-20T11:29:53.414" v="3062" actId="1076"/>
          <ac:picMkLst>
            <pc:docMk/>
            <pc:sldMk cId="59323818" sldId="269"/>
            <ac:picMk id="16" creationId="{B2D6854E-8AD7-69C2-0591-9A9D375E95A3}"/>
          </ac:picMkLst>
        </pc:picChg>
      </pc:sldChg>
      <pc:sldChg chg="ord setBg">
        <pc:chgData name="Marielle Berktold" userId="06eb6efe-c237-487d-9e7f-9fba4d0955d6" providerId="ADAL" clId="{5080EA4B-8F44-4EF7-9678-77265221D523}" dt="2025-02-20T11:32:25.049" v="3071"/>
        <pc:sldMkLst>
          <pc:docMk/>
          <pc:sldMk cId="3539763783" sldId="270"/>
        </pc:sldMkLst>
      </pc:sldChg>
      <pc:sldChg chg="addSp delSp modSp new mod ord setBg">
        <pc:chgData name="Marielle Berktold" userId="06eb6efe-c237-487d-9e7f-9fba4d0955d6" providerId="ADAL" clId="{5080EA4B-8F44-4EF7-9678-77265221D523}" dt="2025-02-10T09:00:38.747" v="931"/>
        <pc:sldMkLst>
          <pc:docMk/>
          <pc:sldMk cId="1851005905" sldId="271"/>
        </pc:sldMkLst>
        <pc:graphicFrameChg chg="add mod modVis">
          <ac:chgData name="Marielle Berktold" userId="06eb6efe-c237-487d-9e7f-9fba4d0955d6" providerId="ADAL" clId="{5080EA4B-8F44-4EF7-9678-77265221D523}" dt="2025-02-10T08:44:50.752" v="17"/>
          <ac:graphicFrameMkLst>
            <pc:docMk/>
            <pc:sldMk cId="1851005905" sldId="271"/>
            <ac:graphicFrameMk id="4" creationId="{5D8109A1-53A9-4C38-D629-D6CC4B27BC0A}"/>
          </ac:graphicFrameMkLst>
        </pc:graphicFrameChg>
        <pc:picChg chg="add mod modCrop">
          <ac:chgData name="Marielle Berktold" userId="06eb6efe-c237-487d-9e7f-9fba4d0955d6" providerId="ADAL" clId="{5080EA4B-8F44-4EF7-9678-77265221D523}" dt="2025-02-10T08:59:46.067" v="927" actId="1076"/>
          <ac:picMkLst>
            <pc:docMk/>
            <pc:sldMk cId="1851005905" sldId="271"/>
            <ac:picMk id="6" creationId="{A7309943-8EC9-4B4B-E2E3-920F4E07FFA7}"/>
          </ac:picMkLst>
        </pc:picChg>
      </pc:sldChg>
      <pc:sldChg chg="add ord">
        <pc:chgData name="Marielle Berktold" userId="06eb6efe-c237-487d-9e7f-9fba4d0955d6" providerId="ADAL" clId="{5080EA4B-8F44-4EF7-9678-77265221D523}" dt="2025-02-20T11:32:20.110" v="3069"/>
        <pc:sldMkLst>
          <pc:docMk/>
          <pc:sldMk cId="1738588295" sldId="272"/>
        </pc:sldMkLst>
      </pc:sldChg>
      <pc:sldChg chg="addSp delSp modSp add mod ord">
        <pc:chgData name="Marielle Berktold" userId="06eb6efe-c237-487d-9e7f-9fba4d0955d6" providerId="ADAL" clId="{5080EA4B-8F44-4EF7-9678-77265221D523}" dt="2025-02-20T11:32:11.256" v="3067"/>
        <pc:sldMkLst>
          <pc:docMk/>
          <pc:sldMk cId="2102372415" sldId="273"/>
        </pc:sldMkLst>
        <pc:spChg chg="add del mod">
          <ac:chgData name="Marielle Berktold" userId="06eb6efe-c237-487d-9e7f-9fba4d0955d6" providerId="ADAL" clId="{5080EA4B-8F44-4EF7-9678-77265221D523}" dt="2025-02-20T11:19:17.704" v="2973"/>
          <ac:spMkLst>
            <pc:docMk/>
            <pc:sldMk cId="2102372415" sldId="273"/>
            <ac:spMk id="2" creationId="{ECA9F314-9A33-A62C-C4F3-BD50A0C39059}"/>
          </ac:spMkLst>
        </pc:spChg>
        <pc:spChg chg="add mod">
          <ac:chgData name="Marielle Berktold" userId="06eb6efe-c237-487d-9e7f-9fba4d0955d6" providerId="ADAL" clId="{5080EA4B-8F44-4EF7-9678-77265221D523}" dt="2025-02-20T11:29:16.740" v="3057" actId="1036"/>
          <ac:spMkLst>
            <pc:docMk/>
            <pc:sldMk cId="2102372415" sldId="273"/>
            <ac:spMk id="3" creationId="{BCC42FA2-143B-91AF-23AF-FFE9EBCB0D26}"/>
          </ac:spMkLst>
        </pc:spChg>
        <pc:spChg chg="add del mod">
          <ac:chgData name="Marielle Berktold" userId="06eb6efe-c237-487d-9e7f-9fba4d0955d6" providerId="ADAL" clId="{5080EA4B-8F44-4EF7-9678-77265221D523}" dt="2025-02-20T11:28:28.302" v="3045" actId="478"/>
          <ac:spMkLst>
            <pc:docMk/>
            <pc:sldMk cId="2102372415" sldId="273"/>
            <ac:spMk id="7" creationId="{357B6F9B-08D2-32A1-874F-39E2903478AC}"/>
          </ac:spMkLst>
        </pc:spChg>
        <pc:spChg chg="add mod">
          <ac:chgData name="Marielle Berktold" userId="06eb6efe-c237-487d-9e7f-9fba4d0955d6" providerId="ADAL" clId="{5080EA4B-8F44-4EF7-9678-77265221D523}" dt="2025-02-20T11:19:24.905" v="2987" actId="1036"/>
          <ac:spMkLst>
            <pc:docMk/>
            <pc:sldMk cId="2102372415" sldId="273"/>
            <ac:spMk id="8" creationId="{C105DDE4-386E-4686-9BCF-1B5E6DB1BFDF}"/>
          </ac:spMkLst>
        </pc:spChg>
        <pc:spChg chg="mod">
          <ac:chgData name="Marielle Berktold" userId="06eb6efe-c237-487d-9e7f-9fba4d0955d6" providerId="ADAL" clId="{5080EA4B-8F44-4EF7-9678-77265221D523}" dt="2025-02-20T11:18:54.449" v="2967" actId="164"/>
          <ac:spMkLst>
            <pc:docMk/>
            <pc:sldMk cId="2102372415" sldId="273"/>
            <ac:spMk id="11" creationId="{FB30F1D2-FB9B-F569-C23C-0B2263E33979}"/>
          </ac:spMkLst>
        </pc:spChg>
        <pc:spChg chg="mod">
          <ac:chgData name="Marielle Berktold" userId="06eb6efe-c237-487d-9e7f-9fba4d0955d6" providerId="ADAL" clId="{5080EA4B-8F44-4EF7-9678-77265221D523}" dt="2025-02-20T11:18:54.449" v="2967" actId="164"/>
          <ac:spMkLst>
            <pc:docMk/>
            <pc:sldMk cId="2102372415" sldId="273"/>
            <ac:spMk id="15" creationId="{474D9704-57DA-DEE1-5138-6A2136FBD56B}"/>
          </ac:spMkLst>
        </pc:spChg>
        <pc:spChg chg="mod topLvl">
          <ac:chgData name="Marielle Berktold" userId="06eb6efe-c237-487d-9e7f-9fba4d0955d6" providerId="ADAL" clId="{5080EA4B-8F44-4EF7-9678-77265221D523}" dt="2025-02-20T11:18:54.449" v="2967" actId="164"/>
          <ac:spMkLst>
            <pc:docMk/>
            <pc:sldMk cId="2102372415" sldId="273"/>
            <ac:spMk id="16" creationId="{F43C6AB6-B73B-BC7D-0ABF-A2902769CFAD}"/>
          </ac:spMkLst>
        </pc:spChg>
        <pc:spChg chg="mod topLvl">
          <ac:chgData name="Marielle Berktold" userId="06eb6efe-c237-487d-9e7f-9fba4d0955d6" providerId="ADAL" clId="{5080EA4B-8F44-4EF7-9678-77265221D523}" dt="2025-02-20T11:18:54.449" v="2967" actId="164"/>
          <ac:spMkLst>
            <pc:docMk/>
            <pc:sldMk cId="2102372415" sldId="273"/>
            <ac:spMk id="17" creationId="{0EEE2C72-D84A-21A9-309E-F311C31499D6}"/>
          </ac:spMkLst>
        </pc:spChg>
        <pc:spChg chg="del">
          <ac:chgData name="Marielle Berktold" userId="06eb6efe-c237-487d-9e7f-9fba4d0955d6" providerId="ADAL" clId="{5080EA4B-8F44-4EF7-9678-77265221D523}" dt="2025-02-20T11:13:17.805" v="2760" actId="478"/>
          <ac:spMkLst>
            <pc:docMk/>
            <pc:sldMk cId="2102372415" sldId="273"/>
            <ac:spMk id="18" creationId="{60EA6AB1-C652-4089-3FFF-2A6F7AF17BC1}"/>
          </ac:spMkLst>
        </pc:spChg>
        <pc:spChg chg="del">
          <ac:chgData name="Marielle Berktold" userId="06eb6efe-c237-487d-9e7f-9fba4d0955d6" providerId="ADAL" clId="{5080EA4B-8F44-4EF7-9678-77265221D523}" dt="2025-02-20T11:13:15.652" v="2758" actId="478"/>
          <ac:spMkLst>
            <pc:docMk/>
            <pc:sldMk cId="2102372415" sldId="273"/>
            <ac:spMk id="19" creationId="{F818A023-7A5B-FB62-4AC7-D07A1CF0A450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22" creationId="{98195CDE-0930-14AD-03E3-9826A3650CE3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23" creationId="{71391384-30CA-2758-B6F6-C1BE07893547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24" creationId="{4E372838-9C70-47B5-E5EA-9C4D2C15D067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26" creationId="{D031A8F9-DA3E-60F7-A1D3-F9C49F6A532E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27" creationId="{6EF3CF1A-D5C8-93E2-9655-DCB46B431BAA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28" creationId="{EDCAE76C-9EB0-543F-9465-8046E8EC5CAD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29" creationId="{C3E8D58A-21B7-AF2A-A9B0-B7DB03EEC0E4}"/>
          </ac:spMkLst>
        </pc:spChg>
        <pc:spChg chg="mod">
          <ac:chgData name="Marielle Berktold" userId="06eb6efe-c237-487d-9e7f-9fba4d0955d6" providerId="ADAL" clId="{5080EA4B-8F44-4EF7-9678-77265221D523}" dt="2025-02-20T11:13:10.884" v="2757" actId="165"/>
          <ac:spMkLst>
            <pc:docMk/>
            <pc:sldMk cId="2102372415" sldId="273"/>
            <ac:spMk id="30" creationId="{5D426000-E9CF-1953-B297-3EBC92A21F4F}"/>
          </ac:spMkLst>
        </pc:spChg>
        <pc:spChg chg="add del mod">
          <ac:chgData name="Marielle Berktold" userId="06eb6efe-c237-487d-9e7f-9fba4d0955d6" providerId="ADAL" clId="{5080EA4B-8F44-4EF7-9678-77265221D523}" dt="2025-02-20T11:27:51.353" v="3042" actId="20577"/>
          <ac:spMkLst>
            <pc:docMk/>
            <pc:sldMk cId="2102372415" sldId="273"/>
            <ac:spMk id="32" creationId="{EDC964DE-CC2D-FF45-632E-3C509BC9CA3C}"/>
          </ac:spMkLst>
        </pc:spChg>
        <pc:grpChg chg="mod">
          <ac:chgData name="Marielle Berktold" userId="06eb6efe-c237-487d-9e7f-9fba4d0955d6" providerId="ADAL" clId="{5080EA4B-8F44-4EF7-9678-77265221D523}" dt="2025-02-20T11:18:54.449" v="2967" actId="164"/>
          <ac:grpSpMkLst>
            <pc:docMk/>
            <pc:sldMk cId="2102372415" sldId="273"/>
            <ac:grpSpMk id="10" creationId="{D95EF4BC-899F-6F5F-703C-D78C3264D900}"/>
          </ac:grpSpMkLst>
        </pc:grpChg>
        <pc:grpChg chg="mod">
          <ac:chgData name="Marielle Berktold" userId="06eb6efe-c237-487d-9e7f-9fba4d0955d6" providerId="ADAL" clId="{5080EA4B-8F44-4EF7-9678-77265221D523}" dt="2025-02-20T11:18:54.449" v="2967" actId="164"/>
          <ac:grpSpMkLst>
            <pc:docMk/>
            <pc:sldMk cId="2102372415" sldId="273"/>
            <ac:grpSpMk id="12" creationId="{5B0D5DAC-23E7-3E69-FBAF-9AC59FA5CC60}"/>
          </ac:grpSpMkLst>
        </pc:grpChg>
        <pc:grpChg chg="mod">
          <ac:chgData name="Marielle Berktold" userId="06eb6efe-c237-487d-9e7f-9fba4d0955d6" providerId="ADAL" clId="{5080EA4B-8F44-4EF7-9678-77265221D523}" dt="2025-02-20T11:18:54.449" v="2967" actId="164"/>
          <ac:grpSpMkLst>
            <pc:docMk/>
            <pc:sldMk cId="2102372415" sldId="273"/>
            <ac:grpSpMk id="13" creationId="{59F9E969-4064-408B-93C1-F5331645B883}"/>
          </ac:grpSpMkLst>
        </pc:grpChg>
        <pc:grpChg chg="del">
          <ac:chgData name="Marielle Berktold" userId="06eb6efe-c237-487d-9e7f-9fba4d0955d6" providerId="ADAL" clId="{5080EA4B-8F44-4EF7-9678-77265221D523}" dt="2025-02-20T11:13:18.757" v="2761" actId="478"/>
          <ac:grpSpMkLst>
            <pc:docMk/>
            <pc:sldMk cId="2102372415" sldId="273"/>
            <ac:grpSpMk id="14" creationId="{563B1816-4089-B2ED-DE55-CECA1387B41B}"/>
          </ac:grpSpMkLst>
        </pc:grpChg>
        <pc:grpChg chg="del">
          <ac:chgData name="Marielle Berktold" userId="06eb6efe-c237-487d-9e7f-9fba4d0955d6" providerId="ADAL" clId="{5080EA4B-8F44-4EF7-9678-77265221D523}" dt="2025-02-20T11:13:16.849" v="2759" actId="478"/>
          <ac:grpSpMkLst>
            <pc:docMk/>
            <pc:sldMk cId="2102372415" sldId="273"/>
            <ac:grpSpMk id="20" creationId="{4CC54514-8B15-449A-2F3D-F195186AE73C}"/>
          </ac:grpSpMkLst>
        </pc:grpChg>
        <pc:grpChg chg="add mod">
          <ac:chgData name="Marielle Berktold" userId="06eb6efe-c237-487d-9e7f-9fba4d0955d6" providerId="ADAL" clId="{5080EA4B-8F44-4EF7-9678-77265221D523}" dt="2025-02-20T11:19:29.357" v="2993" actId="1035"/>
          <ac:grpSpMkLst>
            <pc:docMk/>
            <pc:sldMk cId="2102372415" sldId="273"/>
            <ac:grpSpMk id="31" creationId="{B1FDC541-6594-0190-B860-44DF3B9EF455}"/>
          </ac:grpSpMkLst>
        </pc:grpChg>
        <pc:cxnChg chg="add mod">
          <ac:chgData name="Marielle Berktold" userId="06eb6efe-c237-487d-9e7f-9fba4d0955d6" providerId="ADAL" clId="{5080EA4B-8F44-4EF7-9678-77265221D523}" dt="2025-02-20T11:03:39.655" v="2737" actId="1036"/>
          <ac:cxnSpMkLst>
            <pc:docMk/>
            <pc:sldMk cId="2102372415" sldId="273"/>
            <ac:cxnSpMk id="5" creationId="{09A57F64-BD55-C9C3-2108-FF97FC5218F5}"/>
          </ac:cxnSpMkLst>
        </pc:cxnChg>
      </pc:sldChg>
      <pc:sldChg chg="modSp add del mod">
        <pc:chgData name="Marielle Berktold" userId="06eb6efe-c237-487d-9e7f-9fba4d0955d6" providerId="ADAL" clId="{5080EA4B-8F44-4EF7-9678-77265221D523}" dt="2025-02-20T10:13:32.817" v="2137" actId="47"/>
        <pc:sldMkLst>
          <pc:docMk/>
          <pc:sldMk cId="363166265" sldId="286"/>
        </pc:sldMkLst>
        <pc:spChg chg="mod">
          <ac:chgData name="Marielle Berktold" userId="06eb6efe-c237-487d-9e7f-9fba4d0955d6" providerId="ADAL" clId="{5080EA4B-8F44-4EF7-9678-77265221D523}" dt="2025-02-20T08:59:26.252" v="1895" actId="1076"/>
          <ac:spMkLst>
            <pc:docMk/>
            <pc:sldMk cId="363166265" sldId="286"/>
            <ac:spMk id="12" creationId="{00000000-0000-0000-0000-000000000000}"/>
          </ac:spMkLst>
        </pc:spChg>
      </pc:sldChg>
      <pc:sldChg chg="add del">
        <pc:chgData name="Marielle Berktold" userId="06eb6efe-c237-487d-9e7f-9fba4d0955d6" providerId="ADAL" clId="{5080EA4B-8F44-4EF7-9678-77265221D523}" dt="2025-02-20T11:29:21.624" v="3058" actId="47"/>
        <pc:sldMkLst>
          <pc:docMk/>
          <pc:sldMk cId="2300837972" sldId="288"/>
        </pc:sldMkLst>
      </pc:sldChg>
      <pc:sldChg chg="add del">
        <pc:chgData name="Marielle Berktold" userId="06eb6efe-c237-487d-9e7f-9fba4d0955d6" providerId="ADAL" clId="{5080EA4B-8F44-4EF7-9678-77265221D523}" dt="2025-02-20T10:43:16.391" v="2179" actId="47"/>
        <pc:sldMkLst>
          <pc:docMk/>
          <pc:sldMk cId="1216407234" sldId="300"/>
        </pc:sldMkLst>
      </pc:sldChg>
      <pc:sldChg chg="modSp add del mod">
        <pc:chgData name="Marielle Berktold" userId="06eb6efe-c237-487d-9e7f-9fba4d0955d6" providerId="ADAL" clId="{5080EA4B-8F44-4EF7-9678-77265221D523}" dt="2025-02-20T11:29:23.884" v="3059" actId="47"/>
        <pc:sldMkLst>
          <pc:docMk/>
          <pc:sldMk cId="3719155049" sldId="2147475053"/>
        </pc:sldMkLst>
        <pc:spChg chg="mod">
          <ac:chgData name="Marielle Berktold" userId="06eb6efe-c237-487d-9e7f-9fba4d0955d6" providerId="ADAL" clId="{5080EA4B-8F44-4EF7-9678-77265221D523}" dt="2025-02-20T07:45:08.481" v="1383" actId="13926"/>
          <ac:spMkLst>
            <pc:docMk/>
            <pc:sldMk cId="3719155049" sldId="2147475053"/>
            <ac:spMk id="6" creationId="{00000000-0000-0000-0000-000000000000}"/>
          </ac:spMkLst>
        </pc:spChg>
      </pc:sldChg>
      <pc:sldChg chg="add ord">
        <pc:chgData name="Marielle Berktold" userId="06eb6efe-c237-487d-9e7f-9fba4d0955d6" providerId="ADAL" clId="{5080EA4B-8F44-4EF7-9678-77265221D523}" dt="2025-02-20T08:49:22.151" v="1834"/>
        <pc:sldMkLst>
          <pc:docMk/>
          <pc:sldMk cId="2415418248" sldId="2147475054"/>
        </pc:sldMkLst>
      </pc:sldChg>
      <pc:sldChg chg="add ord">
        <pc:chgData name="Marielle Berktold" userId="06eb6efe-c237-487d-9e7f-9fba4d0955d6" providerId="ADAL" clId="{5080EA4B-8F44-4EF7-9678-77265221D523}" dt="2025-02-20T11:32:20.110" v="3069"/>
        <pc:sldMkLst>
          <pc:docMk/>
          <pc:sldMk cId="743851709" sldId="2147475055"/>
        </pc:sldMkLst>
      </pc:sldChg>
      <pc:sldChg chg="addSp delSp modSp new del mod ord setBg">
        <pc:chgData name="Marielle Berktold" userId="06eb6efe-c237-487d-9e7f-9fba4d0955d6" providerId="ADAL" clId="{5080EA4B-8F44-4EF7-9678-77265221D523}" dt="2025-02-20T10:47:19.719" v="2200" actId="47"/>
        <pc:sldMkLst>
          <pc:docMk/>
          <pc:sldMk cId="1095970637" sldId="2147475056"/>
        </pc:sldMkLst>
        <pc:spChg chg="del">
          <ac:chgData name="Marielle Berktold" userId="06eb6efe-c237-487d-9e7f-9fba4d0955d6" providerId="ADAL" clId="{5080EA4B-8F44-4EF7-9678-77265221D523}" dt="2025-02-20T10:47:00.785" v="2185" actId="478"/>
          <ac:spMkLst>
            <pc:docMk/>
            <pc:sldMk cId="1095970637" sldId="2147475056"/>
            <ac:spMk id="2" creationId="{899BEB90-654A-9BC2-813F-44026DC25E49}"/>
          </ac:spMkLst>
        </pc:spChg>
        <pc:spChg chg="del">
          <ac:chgData name="Marielle Berktold" userId="06eb6efe-c237-487d-9e7f-9fba4d0955d6" providerId="ADAL" clId="{5080EA4B-8F44-4EF7-9678-77265221D523}" dt="2025-02-20T10:47:00.785" v="2185" actId="478"/>
          <ac:spMkLst>
            <pc:docMk/>
            <pc:sldMk cId="1095970637" sldId="2147475056"/>
            <ac:spMk id="3" creationId="{E61470DE-080B-B129-12CB-85FDCD15E87D}"/>
          </ac:spMkLst>
        </pc:spChg>
        <pc:graphicFrameChg chg="add mod modVis">
          <ac:chgData name="Marielle Berktold" userId="06eb6efe-c237-487d-9e7f-9fba4d0955d6" providerId="ADAL" clId="{5080EA4B-8F44-4EF7-9678-77265221D523}" dt="2025-02-20T10:47:01.365" v="2197"/>
          <ac:graphicFrameMkLst>
            <pc:docMk/>
            <pc:sldMk cId="1095970637" sldId="2147475056"/>
            <ac:graphicFrameMk id="4" creationId="{54CE0F02-1BD7-BBDB-4E10-B728ABC663DF}"/>
          </ac:graphicFrameMkLst>
        </pc:graphicFrameChg>
      </pc:sldChg>
      <pc:sldMasterChg chg="delSldLayout">
        <pc:chgData name="Marielle Berktold" userId="06eb6efe-c237-487d-9e7f-9fba4d0955d6" providerId="ADAL" clId="{5080EA4B-8F44-4EF7-9678-77265221D523}" dt="2025-02-20T11:29:23.884" v="3059" actId="47"/>
        <pc:sldMasterMkLst>
          <pc:docMk/>
          <pc:sldMasterMk cId="2355554122" sldId="2147483672"/>
        </pc:sldMasterMkLst>
        <pc:sldLayoutChg chg="del">
          <pc:chgData name="Marielle Berktold" userId="06eb6efe-c237-487d-9e7f-9fba4d0955d6" providerId="ADAL" clId="{5080EA4B-8F44-4EF7-9678-77265221D523}" dt="2025-02-20T10:43:16.391" v="2179" actId="47"/>
          <pc:sldLayoutMkLst>
            <pc:docMk/>
            <pc:sldMasterMk cId="2355554122" sldId="2147483672"/>
            <pc:sldLayoutMk cId="315710198" sldId="2147483716"/>
          </pc:sldLayoutMkLst>
        </pc:sldLayoutChg>
        <pc:sldLayoutChg chg="del">
          <pc:chgData name="Marielle Berktold" userId="06eb6efe-c237-487d-9e7f-9fba4d0955d6" providerId="ADAL" clId="{5080EA4B-8F44-4EF7-9678-77265221D523}" dt="2025-02-20T11:29:23.884" v="3059" actId="47"/>
          <pc:sldLayoutMkLst>
            <pc:docMk/>
            <pc:sldMasterMk cId="2355554122" sldId="2147483672"/>
            <pc:sldLayoutMk cId="3746432228" sldId="2147483717"/>
          </pc:sldLayoutMkLst>
        </pc:sldLayoutChg>
        <pc:sldLayoutChg chg="del">
          <pc:chgData name="Marielle Berktold" userId="06eb6efe-c237-487d-9e7f-9fba4d0955d6" providerId="ADAL" clId="{5080EA4B-8F44-4EF7-9678-77265221D523}" dt="2025-02-20T11:29:21.624" v="3058" actId="47"/>
          <pc:sldLayoutMkLst>
            <pc:docMk/>
            <pc:sldMasterMk cId="2355554122" sldId="2147483672"/>
            <pc:sldLayoutMk cId="2874282581" sldId="2147483718"/>
          </pc:sldLayoutMkLst>
        </pc:sldLayoutChg>
      </pc:sldMasterChg>
    </pc:docChg>
  </pc:docChgLst>
  <pc:docChgLst>
    <pc:chgData name="Marielle Berktold" userId="06eb6efe-c237-487d-9e7f-9fba4d0955d6" providerId="ADAL" clId="{F764E5ED-C0AF-4E5E-8C57-1E43FD63C79E}"/>
    <pc:docChg chg="undo addSld delSld modSld sldOrd modSection">
      <pc:chgData name="Marielle Berktold" userId="06eb6efe-c237-487d-9e7f-9fba4d0955d6" providerId="ADAL" clId="{F764E5ED-C0AF-4E5E-8C57-1E43FD63C79E}" dt="2025-01-23T08:09:00.293" v="64" actId="47"/>
      <pc:docMkLst>
        <pc:docMk/>
      </pc:docMkLst>
      <pc:sldChg chg="add del setBg">
        <pc:chgData name="Marielle Berktold" userId="06eb6efe-c237-487d-9e7f-9fba4d0955d6" providerId="ADAL" clId="{F764E5ED-C0AF-4E5E-8C57-1E43FD63C79E}" dt="2025-01-23T08:06:44.392" v="9" actId="47"/>
        <pc:sldMkLst>
          <pc:docMk/>
          <pc:sldMk cId="929351832" sldId="257"/>
        </pc:sldMkLst>
      </pc:sldChg>
      <pc:sldChg chg="modSp add del mod setBg">
        <pc:chgData name="Marielle Berktold" userId="06eb6efe-c237-487d-9e7f-9fba4d0955d6" providerId="ADAL" clId="{F764E5ED-C0AF-4E5E-8C57-1E43FD63C79E}" dt="2025-01-23T08:09:00.293" v="64" actId="47"/>
        <pc:sldMkLst>
          <pc:docMk/>
          <pc:sldMk cId="1726707104" sldId="258"/>
        </pc:sldMkLst>
      </pc:sldChg>
      <pc:sldChg chg="add del setBg">
        <pc:chgData name="Marielle Berktold" userId="06eb6efe-c237-487d-9e7f-9fba4d0955d6" providerId="ADAL" clId="{F764E5ED-C0AF-4E5E-8C57-1E43FD63C79E}" dt="2025-01-23T08:06:28.363" v="4" actId="47"/>
        <pc:sldMkLst>
          <pc:docMk/>
          <pc:sldMk cId="557884092" sldId="267"/>
        </pc:sldMkLst>
      </pc:sldChg>
      <pc:sldChg chg="add del setBg">
        <pc:chgData name="Marielle Berktold" userId="06eb6efe-c237-487d-9e7f-9fba4d0955d6" providerId="ADAL" clId="{F764E5ED-C0AF-4E5E-8C57-1E43FD63C79E}" dt="2025-01-23T08:05:58.439" v="1" actId="47"/>
        <pc:sldMkLst>
          <pc:docMk/>
          <pc:sldMk cId="2181051566" sldId="267"/>
        </pc:sldMkLst>
      </pc:sldChg>
      <pc:sldChg chg="addSp modSp add mod ord">
        <pc:chgData name="Marielle Berktold" userId="06eb6efe-c237-487d-9e7f-9fba4d0955d6" providerId="ADAL" clId="{F764E5ED-C0AF-4E5E-8C57-1E43FD63C79E}" dt="2025-01-23T08:07:23.917" v="54" actId="1036"/>
        <pc:sldMkLst>
          <pc:docMk/>
          <pc:sldMk cId="3594883228" sldId="267"/>
        </pc:sldMkLst>
        <pc:spChg chg="add mod">
          <ac:chgData name="Marielle Berktold" userId="06eb6efe-c237-487d-9e7f-9fba4d0955d6" providerId="ADAL" clId="{F764E5ED-C0AF-4E5E-8C57-1E43FD63C79E}" dt="2025-01-23T08:07:17.036" v="32" actId="1076"/>
          <ac:spMkLst>
            <pc:docMk/>
            <pc:sldMk cId="3594883228" sldId="267"/>
            <ac:spMk id="2" creationId="{7A05498A-085B-15F9-CF04-7B5B879FA19B}"/>
          </ac:spMkLst>
        </pc:spChg>
        <pc:spChg chg="add mod">
          <ac:chgData name="Marielle Berktold" userId="06eb6efe-c237-487d-9e7f-9fba4d0955d6" providerId="ADAL" clId="{F764E5ED-C0AF-4E5E-8C57-1E43FD63C79E}" dt="2025-01-23T08:07:23.917" v="54" actId="1036"/>
          <ac:spMkLst>
            <pc:docMk/>
            <pc:sldMk cId="3594883228" sldId="267"/>
            <ac:spMk id="5" creationId="{2A08715C-C1F4-A770-DF4C-4C3FED40EF9D}"/>
          </ac:spMkLst>
        </pc:spChg>
        <pc:picChg chg="add mod">
          <ac:chgData name="Marielle Berktold" userId="06eb6efe-c237-487d-9e7f-9fba4d0955d6" providerId="ADAL" clId="{F764E5ED-C0AF-4E5E-8C57-1E43FD63C79E}" dt="2025-01-23T08:06:41.819" v="8"/>
          <ac:picMkLst>
            <pc:docMk/>
            <pc:sldMk cId="3594883228" sldId="267"/>
            <ac:picMk id="3" creationId="{453D49D9-8C60-285A-F7C2-7162A6C30F34}"/>
          </ac:picMkLst>
        </pc:picChg>
        <pc:picChg chg="add mod">
          <ac:chgData name="Marielle Berktold" userId="06eb6efe-c237-487d-9e7f-9fba4d0955d6" providerId="ADAL" clId="{F764E5ED-C0AF-4E5E-8C57-1E43FD63C79E}" dt="2025-01-23T08:06:41.819" v="8"/>
          <ac:picMkLst>
            <pc:docMk/>
            <pc:sldMk cId="3594883228" sldId="267"/>
            <ac:picMk id="6" creationId="{9CC8CDE7-3A10-5869-50D7-1A55B319956D}"/>
          </ac:picMkLst>
        </pc:picChg>
      </pc:sldChg>
      <pc:sldChg chg="add del setBg">
        <pc:chgData name="Marielle Berktold" userId="06eb6efe-c237-487d-9e7f-9fba4d0955d6" providerId="ADAL" clId="{F764E5ED-C0AF-4E5E-8C57-1E43FD63C79E}" dt="2025-01-23T08:08:25.205" v="59" actId="47"/>
        <pc:sldMkLst>
          <pc:docMk/>
          <pc:sldMk cId="2599195951" sldId="268"/>
        </pc:sldMkLst>
      </pc:sldChg>
      <pc:sldChg chg="addSp modSp add">
        <pc:chgData name="Marielle Berktold" userId="06eb6efe-c237-487d-9e7f-9fba4d0955d6" providerId="ADAL" clId="{F764E5ED-C0AF-4E5E-8C57-1E43FD63C79E}" dt="2025-01-23T08:08:57.561" v="63"/>
        <pc:sldMkLst>
          <pc:docMk/>
          <pc:sldMk cId="3692821635" sldId="268"/>
        </pc:sldMkLst>
        <pc:spChg chg="add mod">
          <ac:chgData name="Marielle Berktold" userId="06eb6efe-c237-487d-9e7f-9fba4d0955d6" providerId="ADAL" clId="{F764E5ED-C0AF-4E5E-8C57-1E43FD63C79E}" dt="2025-01-23T08:08:57.561" v="63"/>
          <ac:spMkLst>
            <pc:docMk/>
            <pc:sldMk cId="3692821635" sldId="268"/>
            <ac:spMk id="2" creationId="{174717B9-21A4-641D-2EB7-FD5D90426FA9}"/>
          </ac:spMkLst>
        </pc:spChg>
        <pc:spChg chg="add mod">
          <ac:chgData name="Marielle Berktold" userId="06eb6efe-c237-487d-9e7f-9fba4d0955d6" providerId="ADAL" clId="{F764E5ED-C0AF-4E5E-8C57-1E43FD63C79E}" dt="2025-01-23T08:08:57.561" v="63"/>
          <ac:spMkLst>
            <pc:docMk/>
            <pc:sldMk cId="3692821635" sldId="268"/>
            <ac:spMk id="5" creationId="{E82A7423-783B-A9A5-5355-3BA7D620ACB8}"/>
          </ac:spMkLst>
        </pc:spChg>
        <pc:spChg chg="add mod">
          <ac:chgData name="Marielle Berktold" userId="06eb6efe-c237-487d-9e7f-9fba4d0955d6" providerId="ADAL" clId="{F764E5ED-C0AF-4E5E-8C57-1E43FD63C79E}" dt="2025-01-23T08:08:57.561" v="63"/>
          <ac:spMkLst>
            <pc:docMk/>
            <pc:sldMk cId="3692821635" sldId="268"/>
            <ac:spMk id="7" creationId="{F309BC4F-769A-6782-3B85-57C899983362}"/>
          </ac:spMkLst>
        </pc:spChg>
        <pc:picChg chg="add mod">
          <ac:chgData name="Marielle Berktold" userId="06eb6efe-c237-487d-9e7f-9fba4d0955d6" providerId="ADAL" clId="{F764E5ED-C0AF-4E5E-8C57-1E43FD63C79E}" dt="2025-01-23T08:08:57.561" v="63"/>
          <ac:picMkLst>
            <pc:docMk/>
            <pc:sldMk cId="3692821635" sldId="268"/>
            <ac:picMk id="6" creationId="{07FDC3D3-2880-3230-6704-A31373D5AE3D}"/>
          </ac:picMkLst>
        </pc:picChg>
        <pc:cxnChg chg="add mod">
          <ac:chgData name="Marielle Berktold" userId="06eb6efe-c237-487d-9e7f-9fba4d0955d6" providerId="ADAL" clId="{F764E5ED-C0AF-4E5E-8C57-1E43FD63C79E}" dt="2025-01-23T08:08:57.561" v="63"/>
          <ac:cxnSpMkLst>
            <pc:docMk/>
            <pc:sldMk cId="3692821635" sldId="268"/>
            <ac:cxnSpMk id="3" creationId="{B029F589-318C-1B7A-A64A-FBD7587F505A}"/>
          </ac:cxnSpMkLst>
        </pc:cxnChg>
      </pc:sldChg>
      <pc:sldChg chg="add del setBg">
        <pc:chgData name="Marielle Berktold" userId="06eb6efe-c237-487d-9e7f-9fba4d0955d6" providerId="ADAL" clId="{F764E5ED-C0AF-4E5E-8C57-1E43FD63C79E}" dt="2025-01-23T08:07:55.879" v="57" actId="47"/>
        <pc:sldMkLst>
          <pc:docMk/>
          <pc:sldMk cId="3802293577" sldId="26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3CFC17-5920-42F9-9939-0ACF1EC1CFF7}" type="datetimeFigureOut">
              <a:rPr lang="de-DE" smtClean="0"/>
              <a:t>27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CE44A8-6196-4159-8C71-F07902D1964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175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16.png"/><Relationship Id="rId5" Type="http://schemas.openxmlformats.org/officeDocument/2006/relationships/image" Target="../media/image2.png"/><Relationship Id="rId10" Type="http://schemas.openxmlformats.org/officeDocument/2006/relationships/image" Target="../media/image5.png"/><Relationship Id="rId4" Type="http://schemas.openxmlformats.org/officeDocument/2006/relationships/image" Target="../media/image15.emf"/><Relationship Id="rId9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1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8.png"/><Relationship Id="rId4" Type="http://schemas.openxmlformats.org/officeDocument/2006/relationships/image" Target="../media/image1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>
            <a:lumMod val="9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8">
            <a:extLst>
              <a:ext uri="{FF2B5EF4-FFF2-40B4-BE49-F238E27FC236}">
                <a16:creationId xmlns:a16="http://schemas.microsoft.com/office/drawing/2014/main" id="{58A55D74-9F3D-A56B-3BCE-B5547E380664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>
                <a:latin typeface="+mj-lt"/>
              </a:rPr>
              <a:t>IFOHRA GmbH </a:t>
            </a: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7DB811C3-2ABB-D7F9-7B86-DCDA532AD288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nstitute </a:t>
            </a:r>
            <a:r>
              <a:rPr lang="de-DE" sz="1400" dirty="0" err="1"/>
              <a:t>for</a:t>
            </a:r>
            <a:r>
              <a:rPr lang="de-DE" sz="1400" dirty="0"/>
              <a:t> Healthcare Robotics and Automation</a:t>
            </a:r>
          </a:p>
        </p:txBody>
      </p:sp>
      <p:pic>
        <p:nvPicPr>
          <p:cNvPr id="9" name="Grafik 14">
            <a:extLst>
              <a:ext uri="{FF2B5EF4-FFF2-40B4-BE49-F238E27FC236}">
                <a16:creationId xmlns:a16="http://schemas.microsoft.com/office/drawing/2014/main" id="{2B3975CF-38A9-FADB-6B08-922CC9C9A9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634" y="6116479"/>
            <a:ext cx="1488336" cy="577562"/>
          </a:xfrm>
          <a:prstGeom prst="rect">
            <a:avLst/>
          </a:prstGeom>
        </p:spPr>
      </p:pic>
      <p:sp>
        <p:nvSpPr>
          <p:cNvPr id="14" name="TextBox 24">
            <a:extLst>
              <a:ext uri="{FF2B5EF4-FFF2-40B4-BE49-F238E27FC236}">
                <a16:creationId xmlns:a16="http://schemas.microsoft.com/office/drawing/2014/main" id="{F0EA96D2-08CF-8480-618C-7863B3F3683B}"/>
              </a:ext>
            </a:extLst>
          </p:cNvPr>
          <p:cNvSpPr txBox="1"/>
          <p:nvPr userDrawn="1"/>
        </p:nvSpPr>
        <p:spPr>
          <a:xfrm>
            <a:off x="5051731" y="6421921"/>
            <a:ext cx="1426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/>
              <a:t>Ein Spin-off von</a:t>
            </a:r>
          </a:p>
        </p:txBody>
      </p:sp>
      <p:pic>
        <p:nvPicPr>
          <p:cNvPr id="15" name="Grafik 14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C4972C23-2088-4094-0835-F14D71BEE3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96" y="-907951"/>
            <a:ext cx="12198096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20" name="Grafik 19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4F1F7557-C13E-B82D-4D92-F5B4CAC95B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duotone>
              <a:prstClr val="black"/>
              <a:schemeClr val="bg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6717" r="89924">
                        <a14:foregroundMark x1="45720" y1="30000" x2="56119" y2="26870"/>
                        <a14:foregroundMark x1="59891" y1="27275" x2="61972" y2="27609"/>
                        <a14:foregroundMark x1="63829" y1="23261" x2="65222" y2="20000"/>
                        <a14:foregroundMark x1="63086" y1="25000" x2="63829" y2="23261"/>
                        <a14:foregroundMark x1="61972" y1="27609" x2="63086" y2="25000"/>
                        <a14:foregroundMark x1="65222" y1="20000" x2="69556" y2="20652"/>
                        <a14:foregroundMark x1="69556" y1="20652" x2="71939" y2="28478"/>
                        <a14:foregroundMark x1="71939" y1="28478" x2="73241" y2="51677"/>
                        <a14:foregroundMark x1="71478" y1="71844" x2="70856" y2="83913"/>
                        <a14:foregroundMark x1="70856" y1="83913" x2="63164" y2="71522"/>
                        <a14:foregroundMark x1="63164" y1="71522" x2="62189" y2="82826"/>
                        <a14:foregroundMark x1="62189" y1="82826" x2="57556" y2="81029"/>
                        <a14:foregroundMark x1="46707" y1="80660" x2="45947" y2="81491"/>
                        <a14:foregroundMark x1="44088" y1="69144" x2="45031" y2="67398"/>
                        <a14:foregroundMark x1="62622" y1="49130" x2="62622" y2="49130"/>
                        <a14:foregroundMark x1="65330" y1="42391" x2="65330" y2="42391"/>
                        <a14:foregroundMark x1="64572" y1="18261" x2="64572" y2="18261"/>
                        <a14:foregroundMark x1="66414" y1="16957" x2="66414" y2="16957"/>
                        <a14:foregroundMark x1="68039" y1="18478" x2="68039" y2="18478"/>
                        <a14:foregroundMark x1="67281" y1="17391" x2="67281" y2="17391"/>
                        <a14:foregroundMark x1="68581" y1="18043" x2="64030" y2="17609"/>
                        <a14:foregroundMark x1="62238" y1="25000" x2="62080" y2="25652"/>
                        <a14:foregroundMark x1="62660" y1="23261" x2="62238" y2="25000"/>
                        <a14:foregroundMark x1="64030" y1="17609" x2="62660" y2="23261"/>
                        <a14:foregroundMark x1="62080" y1="25652" x2="62080" y2="26087"/>
                        <a14:foregroundMark x1="45720" y1="33696" x2="45720" y2="33696"/>
                        <a14:foregroundMark x1="44204" y1="37826" x2="44204" y2="37826"/>
                        <a14:foregroundMark x1="43445" y1="41304" x2="43445" y2="41304"/>
                        <a14:foregroundMark x1="43770" y1="42826" x2="43770" y2="42826"/>
                        <a14:foregroundMark x1="42904" y1="38261" x2="42904" y2="38261"/>
                        <a14:foregroundMark x1="42037" y1="40217" x2="42037" y2="40217"/>
                        <a14:foregroundMark x1="46082" y1="68723" x2="44312" y2="73261"/>
                        <a14:foregroundMark x1="47237" y1="70652" x2="51354" y2="70435"/>
                        <a14:foregroundMark x1="51354" y1="70435" x2="52438" y2="72609"/>
                        <a14:foregroundMark x1="45720" y1="32174" x2="44745" y2="34348"/>
                        <a14:foregroundMark x1="44854" y1="35435" x2="44095" y2="37174"/>
                        <a14:foregroundMark x1="42037" y1="41739" x2="45395" y2="43261"/>
                        <a14:foregroundMark x1="51375" y1="53696" x2="51571" y2="52609"/>
                        <a14:foregroundMark x1="50163" y1="60435" x2="51375" y2="53696"/>
                        <a14:foregroundMark x1="56663" y1="27609" x2="57855" y2="27609"/>
                        <a14:foregroundMark x1="56338" y1="27174" x2="57530" y2="27174"/>
                        <a14:foregroundMark x1="59155" y1="27609" x2="58180" y2="27609"/>
                        <a14:foregroundMark x1="57746" y1="83913" x2="61972" y2="85000"/>
                        <a14:foregroundMark x1="61972" y1="85000" x2="61972" y2="84565"/>
                        <a14:foregroundMark x1="19177" y1="25870" x2="23510" y2="34783"/>
                        <a14:foregroundMark x1="23510" y1="34783" x2="25785" y2="44348"/>
                        <a14:foregroundMark x1="24963" y1="49225" x2="23185" y2="59783"/>
                        <a14:foregroundMark x1="25785" y1="44348" x2="24986" y2="49091"/>
                        <a14:foregroundMark x1="21343" y1="38261" x2="20739" y2="47790"/>
                        <a14:foregroundMark x1="16544" y1="63552" x2="15710" y2="66304"/>
                        <a14:foregroundMark x1="15710" y1="66304" x2="8451" y2="35435"/>
                        <a14:foregroundMark x1="8451" y1="35435" x2="4875" y2="32174"/>
                        <a14:foregroundMark x1="4875" y1="32174" x2="6717" y2="25000"/>
                        <a14:foregroundMark x1="12173" y1="21840" x2="17226" y2="18913"/>
                        <a14:foregroundMark x1="6717" y1="25000" x2="9455" y2="23414"/>
                        <a14:foregroundMark x1="17226" y1="18913" x2="17443" y2="27826"/>
                        <a14:foregroundMark x1="17443" y1="27826" x2="20910" y2="32391"/>
                        <a14:foregroundMark x1="20910" y1="32391" x2="20802" y2="39348"/>
                        <a14:foregroundMark x1="21993" y1="60435" x2="21993" y2="60435"/>
                        <a14:foregroundMark x1="21018" y1="61957" x2="21018" y2="61957"/>
                        <a14:foregroundMark x1="23835" y1="65000" x2="23835" y2="65000"/>
                        <a14:foregroundMark x1="24485" y1="64348" x2="24485" y2="64348"/>
                        <a14:foregroundMark x1="24269" y1="64130" x2="24269" y2="64130"/>
                        <a14:foregroundMark x1="21127" y1="62609" x2="21127" y2="62609"/>
                        <a14:foregroundMark x1="14085" y1="67174" x2="14085" y2="67174"/>
                        <a14:foregroundMark x1="15276" y1="67609" x2="15276" y2="67609"/>
                        <a14:foregroundMark x1="15168" y1="68696" x2="15168" y2="68696"/>
                        <a14:backgroundMark x1="74323" y1="51304" x2="75298" y2="62609"/>
                        <a14:backgroundMark x1="75298" y1="62609" x2="72156" y2="72609"/>
                        <a14:backgroundMark x1="40731" y1="40217" x2="40087" y2="41957"/>
                        <a14:backgroundMark x1="41455" y1="38261" x2="40731" y2="40217"/>
                        <a14:backgroundMark x1="42637" y1="35070" x2="41455" y2="38261"/>
                        <a14:backgroundMark x1="40087" y1="41957" x2="40087" y2="42826"/>
                        <a14:backgroundMark x1="39978" y1="42826" x2="42362" y2="67609"/>
                        <a14:backgroundMark x1="42362" y1="67609" x2="41170" y2="79565"/>
                        <a14:backgroundMark x1="42687" y1="77174" x2="42687" y2="77174"/>
                        <a14:backgroundMark x1="43445" y1="79565" x2="43445" y2="79565"/>
                        <a14:backgroundMark x1="43229" y1="77609" x2="44312" y2="83261"/>
                        <a14:backgroundMark x1="47021" y1="82609" x2="46811" y2="73757"/>
                        <a14:backgroundMark x1="51673" y1="73813" x2="57205" y2="85652"/>
                        <a14:backgroundMark x1="47346" y1="77609" x2="51679" y2="78261"/>
                        <a14:backgroundMark x1="51679" y1="78261" x2="51679" y2="79348"/>
                        <a14:backgroundMark x1="43229" y1="54348" x2="47021" y2="58696"/>
                        <a14:backgroundMark x1="47021" y1="58696" x2="44312" y2="62609"/>
                        <a14:backgroundMark x1="46587" y1="53043" x2="49621" y2="59130"/>
                        <a14:backgroundMark x1="49621" y1="59130" x2="45720" y2="64783"/>
                        <a14:backgroundMark x1="45720" y1="64783" x2="44854" y2="67174"/>
                        <a14:backgroundMark x1="48537" y1="53043" x2="49404" y2="62826"/>
                        <a14:backgroundMark x1="46075" y1="40101" x2="47671" y2="36522"/>
                        <a14:backgroundMark x1="48537" y1="37609" x2="52113" y2="40652"/>
                        <a14:backgroundMark x1="52113" y1="40652" x2="52113" y2="40652"/>
                        <a14:backgroundMark x1="50813" y1="37174" x2="52113" y2="45000"/>
                        <a14:backgroundMark x1="52113" y1="45000" x2="49187" y2="51957"/>
                        <a14:backgroundMark x1="49729" y1="53696" x2="49729" y2="53696"/>
                        <a14:backgroundMark x1="49621" y1="52391" x2="49621" y2="52391"/>
                        <a14:backgroundMark x1="62189" y1="23261" x2="62189" y2="23261"/>
                        <a14:backgroundMark x1="61972" y1="25000" x2="61972" y2="25000"/>
                        <a14:backgroundMark x1="56230" y1="26522" x2="56663" y2="26522"/>
                        <a14:backgroundMark x1="58810" y1="26522" x2="60130" y2="26522"/>
                        <a14:backgroundMark x1="56446" y1="26304" x2="56609" y2="26321"/>
                        <a14:backgroundMark x1="30444" y1="44130" x2="35645" y2="47609"/>
                        <a14:backgroundMark x1="27736" y1="49565" x2="27194" y2="53478"/>
                        <a14:backgroundMark x1="32286" y1="52826" x2="35970" y2="59130"/>
                        <a14:backgroundMark x1="35970" y1="59130" x2="35320" y2="66522"/>
                        <a14:backgroundMark x1="30661" y1="55870" x2="32936" y2="65652"/>
                        <a14:backgroundMark x1="32936" y1="65652" x2="32286" y2="65870"/>
                        <a14:backgroundMark x1="29252" y1="58478" x2="29252" y2="67174"/>
                        <a14:backgroundMark x1="29252" y1="67174" x2="29144" y2="66739"/>
                        <a14:backgroundMark x1="21127" y1="50217" x2="18093" y2="64783"/>
                        <a14:backgroundMark x1="21560" y1="50217" x2="23835" y2="51957"/>
                        <a14:backgroundMark x1="22427" y1="50217" x2="20802" y2="51522"/>
                        <a14:backgroundMark x1="11484" y1="23043" x2="11484" y2="23043"/>
                        <a14:backgroundMark x1="10943" y1="21957" x2="11918" y2="21739"/>
                        <a14:backgroundMark x1="9751" y1="22391" x2="11918" y2="21739"/>
                        <a14:backgroundMark x1="11593" y1="22609" x2="12243" y2="215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" y="-907951"/>
            <a:ext cx="12191999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3A7ACDE-F77E-A1D8-2F91-2EEC1FBA3D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74" y="5635363"/>
            <a:ext cx="649785" cy="649785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9D0B2C1-4B51-D667-9145-70AAA5FCFA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37917" b="32057"/>
          <a:stretch/>
        </p:blipFill>
        <p:spPr>
          <a:xfrm>
            <a:off x="8467295" y="6122706"/>
            <a:ext cx="3673302" cy="73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1104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0D9BF0F-5760-1D57-435B-E7E00B128164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988CF08-D4F1-BD72-87B9-361788DECD7B}"/>
              </a:ext>
            </a:extLst>
          </p:cNvPr>
          <p:cNvSpPr/>
          <p:nvPr userDrawn="1"/>
        </p:nvSpPr>
        <p:spPr>
          <a:xfrm>
            <a:off x="0" y="-11975"/>
            <a:ext cx="12192000" cy="899092"/>
          </a:xfrm>
          <a:prstGeom prst="rect">
            <a:avLst/>
          </a:prstGeom>
          <a:solidFill>
            <a:srgbClr val="427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 descr="Ein Bild, das Text, Screenshot, Design enthält.&#10;&#10;Automatisch generierte Beschreibung">
            <a:extLst>
              <a:ext uri="{FF2B5EF4-FFF2-40B4-BE49-F238E27FC236}">
                <a16:creationId xmlns:a16="http://schemas.microsoft.com/office/drawing/2014/main" id="{36AE9B45-64D2-C481-966B-1B1386790C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97437" y="84989"/>
            <a:ext cx="7997125" cy="757239"/>
          </a:xfrm>
          <a:prstGeom prst="rect">
            <a:avLst/>
          </a:prstGeom>
        </p:spPr>
      </p:pic>
      <p:pic>
        <p:nvPicPr>
          <p:cNvPr id="6" name="Grafik 5" descr="Ein Bild, das Text, Grafiken, Schrift, Grafikdesign enthält.&#10;&#10;Automatisch generierte Beschreibung">
            <a:extLst>
              <a:ext uri="{FF2B5EF4-FFF2-40B4-BE49-F238E27FC236}">
                <a16:creationId xmlns:a16="http://schemas.microsoft.com/office/drawing/2014/main" id="{58E983D8-53B7-8AA8-EC8A-1C203D2AD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022" y="110864"/>
            <a:ext cx="640650" cy="640650"/>
          </a:xfrm>
          <a:prstGeom prst="rect">
            <a:avLst/>
          </a:prstGeom>
        </p:spPr>
      </p:pic>
      <p:pic>
        <p:nvPicPr>
          <p:cNvPr id="7" name="Picture 2" descr="Kliniken Landkreis Heidenheim gGmbH">
            <a:extLst>
              <a:ext uri="{FF2B5EF4-FFF2-40B4-BE49-F238E27FC236}">
                <a16:creationId xmlns:a16="http://schemas.microsoft.com/office/drawing/2014/main" id="{AC298DFB-43EB-0768-5399-094B6E299E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6264" y="149978"/>
            <a:ext cx="870709" cy="580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4144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B972C5-D6D6-70E5-E2AD-DE4B39AED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456E62E-F751-14B7-2C37-67F3A3C743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8377BB4-163F-2180-9F4E-C33BDF7B8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57C5F15-2C08-3B87-DCC4-ADF7B1B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89C06F-7B34-FA6F-FA5C-EEEA4CA2C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0DA0FFF8-5367-3486-95CF-94C0DCAF0CD4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1653579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A0CE17E-51A2-3E6B-98CC-74BC1D559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34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A0CE17E-51A2-3E6B-98CC-74BC1D559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F64C6A1A-0F55-B21D-250E-670B1CF9EB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808B3-DCAB-2BA0-2A1F-F84C53DFA6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98711F2-B640-18AC-E364-0D3983E3B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0E3A0AC-3BC2-12D0-DC8A-FAFEAAC60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877E70-4E3F-1586-9770-34671F8CC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630A2D2-4403-1BAD-F5A1-B768D9037B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2F592FE0-2049-1BD6-5550-1BC9E5A57EEE}"/>
              </a:ext>
            </a:extLst>
          </p:cNvPr>
          <p:cNvSpPr txBox="1">
            <a:spLocks/>
          </p:cNvSpPr>
          <p:nvPr userDrawn="1"/>
        </p:nvSpPr>
        <p:spPr>
          <a:xfrm>
            <a:off x="4038600" y="6559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3236264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42B395-7654-F9E1-2E5A-24F2631169E2}"/>
              </a:ext>
            </a:extLst>
          </p:cNvPr>
          <p:cNvCxnSpPr>
            <a:cxnSpLocks/>
          </p:cNvCxnSpPr>
          <p:nvPr userDrawn="1"/>
        </p:nvCxnSpPr>
        <p:spPr>
          <a:xfrm>
            <a:off x="2264228" y="1071987"/>
            <a:ext cx="0" cy="431281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3DE00EE-7E23-8B63-62C7-60F1E61F2816}"/>
              </a:ext>
            </a:extLst>
          </p:cNvPr>
          <p:cNvSpPr/>
          <p:nvPr userDrawn="1"/>
        </p:nvSpPr>
        <p:spPr>
          <a:xfrm>
            <a:off x="661951" y="2011399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2BD691F-208C-373A-8411-6BEE682F10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22" y="212020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43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_oder_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BEB47-7278-7790-1500-F262111C4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883C01-AAC5-4300-9B1D-B25CF93DA96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pic>
        <p:nvPicPr>
          <p:cNvPr id="3" name="Grafik 2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F2A7C317-AD22-A72D-1D4E-3AC392441D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2632" y="0"/>
            <a:ext cx="8129368" cy="6858000"/>
          </a:xfrm>
          <a:custGeom>
            <a:avLst/>
            <a:gdLst/>
            <a:ahLst/>
            <a:cxnLst/>
            <a:rect l="l" t="t" r="r" b="b"/>
            <a:pathLst>
              <a:path w="8129366" h="6858000">
                <a:moveTo>
                  <a:pt x="1619628" y="0"/>
                </a:moveTo>
                <a:lnTo>
                  <a:pt x="4520115" y="0"/>
                </a:lnTo>
                <a:lnTo>
                  <a:pt x="6067239" y="0"/>
                </a:lnTo>
                <a:lnTo>
                  <a:pt x="8129366" y="0"/>
                </a:lnTo>
                <a:lnTo>
                  <a:pt x="8129366" y="6858000"/>
                </a:lnTo>
                <a:lnTo>
                  <a:pt x="6067239" y="6858000"/>
                </a:lnTo>
                <a:lnTo>
                  <a:pt x="4520115" y="6858000"/>
                </a:lnTo>
                <a:lnTo>
                  <a:pt x="1619627" y="6858000"/>
                </a:lnTo>
                <a:lnTo>
                  <a:pt x="1615622" y="6854853"/>
                </a:lnTo>
                <a:cubicBezTo>
                  <a:pt x="628921" y="6040555"/>
                  <a:pt x="0" y="4808224"/>
                  <a:pt x="0" y="3429000"/>
                </a:cubicBezTo>
                <a:cubicBezTo>
                  <a:pt x="0" y="2049777"/>
                  <a:pt x="628921" y="817446"/>
                  <a:pt x="1615622" y="3148"/>
                </a:cubicBezTo>
                <a:close/>
              </a:path>
            </a:pathLst>
          </a:custGeom>
        </p:spPr>
      </p:pic>
      <p:sp>
        <p:nvSpPr>
          <p:cNvPr id="10" name="TextBox 18">
            <a:extLst>
              <a:ext uri="{FF2B5EF4-FFF2-40B4-BE49-F238E27FC236}">
                <a16:creationId xmlns:a16="http://schemas.microsoft.com/office/drawing/2014/main" id="{D2CBD72A-839D-CB8D-A642-C800320C0D2E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>
                <a:latin typeface="+mj-lt"/>
              </a:rPr>
              <a:t>IFOHRA GmbH </a:t>
            </a: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4B3FA7A7-C05F-2B8A-DCAE-8E5544BD1946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Institute </a:t>
            </a:r>
            <a:r>
              <a:rPr lang="de-DE" sz="1400" dirty="0" err="1"/>
              <a:t>for</a:t>
            </a:r>
            <a:r>
              <a:rPr lang="de-DE" sz="1400" dirty="0"/>
              <a:t> Healthcare Robotics and Automatio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65B8EF-3E97-21F7-249D-FE3E6F3C38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11" y="5660571"/>
            <a:ext cx="695779" cy="69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88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5D124C-432F-4B7F-DB73-53B6E882D3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C736766-793C-2C1C-06D9-1F652D0ABA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E1F3935-FD83-964F-AAB5-98A5C6C810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AA10B-F5AB-4889-8204-35E1D98363B9}" type="datetimeFigureOut">
              <a:rPr lang="de-DE" smtClean="0"/>
              <a:t>27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BAEF0B1-ACF5-A7A1-51CC-F949D7D34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02038A-EE17-1348-9526-E72A480BF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350756-660F-4A79-A566-6E0DE9829B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96418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>
            <a:lumMod val="9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5EA9277-5822-5D52-A2B2-7B747BAFF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73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5EA9277-5822-5D52-A2B2-7B747BAFF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8">
            <a:extLst>
              <a:ext uri="{FF2B5EF4-FFF2-40B4-BE49-F238E27FC236}">
                <a16:creationId xmlns:a16="http://schemas.microsoft.com/office/drawing/2014/main" id="{58A55D74-9F3D-A56B-3BCE-B5547E380664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2400">
                <a:latin typeface="+mj-lt"/>
              </a:rPr>
              <a:t>IFOHRA GmbH </a:t>
            </a: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7DB811C3-2ABB-D7F9-7B86-DCDA532AD288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400"/>
              <a:t>Institute for Healthcare Robotics and Automation</a:t>
            </a:r>
          </a:p>
        </p:txBody>
      </p:sp>
      <p:pic>
        <p:nvPicPr>
          <p:cNvPr id="9" name="Grafik 14">
            <a:extLst>
              <a:ext uri="{FF2B5EF4-FFF2-40B4-BE49-F238E27FC236}">
                <a16:creationId xmlns:a16="http://schemas.microsoft.com/office/drawing/2014/main" id="{2B3975CF-38A9-FADB-6B08-922CC9C9A9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634" y="6116479"/>
            <a:ext cx="1488336" cy="577562"/>
          </a:xfrm>
          <a:prstGeom prst="rect">
            <a:avLst/>
          </a:prstGeom>
        </p:spPr>
      </p:pic>
      <p:pic>
        <p:nvPicPr>
          <p:cNvPr id="10" name="Picture 23" descr="Text&#10;&#10;Description automatically generated">
            <a:extLst>
              <a:ext uri="{FF2B5EF4-FFF2-40B4-BE49-F238E27FC236}">
                <a16:creationId xmlns:a16="http://schemas.microsoft.com/office/drawing/2014/main" id="{DF269DCC-5264-3F9E-C961-3643FE3B55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303" y="6104548"/>
            <a:ext cx="3652454" cy="634747"/>
          </a:xfrm>
          <a:prstGeom prst="rect">
            <a:avLst/>
          </a:prstGeom>
        </p:spPr>
      </p:pic>
      <p:sp>
        <p:nvSpPr>
          <p:cNvPr id="14" name="TextBox 24">
            <a:extLst>
              <a:ext uri="{FF2B5EF4-FFF2-40B4-BE49-F238E27FC236}">
                <a16:creationId xmlns:a16="http://schemas.microsoft.com/office/drawing/2014/main" id="{F0EA96D2-08CF-8480-618C-7863B3F3683B}"/>
              </a:ext>
            </a:extLst>
          </p:cNvPr>
          <p:cNvSpPr txBox="1"/>
          <p:nvPr userDrawn="1"/>
        </p:nvSpPr>
        <p:spPr>
          <a:xfrm>
            <a:off x="5051731" y="6421921"/>
            <a:ext cx="1426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200"/>
              <a:t>Ein Spin-off von</a:t>
            </a:r>
          </a:p>
        </p:txBody>
      </p:sp>
      <p:pic>
        <p:nvPicPr>
          <p:cNvPr id="15" name="Grafik 14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C4972C23-2088-4094-0835-F14D71BEE34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96" y="-907951"/>
            <a:ext cx="12198096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20" name="Grafik 19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4F1F7557-C13E-B82D-4D92-F5B4CAC95B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duotone>
              <a:prstClr val="black"/>
              <a:schemeClr val="bg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6717" r="89924">
                        <a14:foregroundMark x1="45720" y1="30000" x2="56119" y2="26870"/>
                        <a14:foregroundMark x1="59891" y1="27275" x2="61972" y2="27609"/>
                        <a14:foregroundMark x1="63829" y1="23261" x2="65222" y2="20000"/>
                        <a14:foregroundMark x1="63086" y1="25000" x2="63829" y2="23261"/>
                        <a14:foregroundMark x1="61972" y1="27609" x2="63086" y2="25000"/>
                        <a14:foregroundMark x1="65222" y1="20000" x2="69556" y2="20652"/>
                        <a14:foregroundMark x1="69556" y1="20652" x2="71939" y2="28478"/>
                        <a14:foregroundMark x1="71939" y1="28478" x2="73241" y2="51677"/>
                        <a14:foregroundMark x1="71478" y1="71844" x2="70856" y2="83913"/>
                        <a14:foregroundMark x1="70856" y1="83913" x2="63164" y2="71522"/>
                        <a14:foregroundMark x1="63164" y1="71522" x2="62189" y2="82826"/>
                        <a14:foregroundMark x1="62189" y1="82826" x2="57556" y2="81029"/>
                        <a14:foregroundMark x1="46707" y1="80660" x2="45947" y2="81491"/>
                        <a14:foregroundMark x1="44088" y1="69144" x2="45031" y2="67398"/>
                        <a14:foregroundMark x1="62622" y1="49130" x2="62622" y2="49130"/>
                        <a14:foregroundMark x1="65330" y1="42391" x2="65330" y2="42391"/>
                        <a14:foregroundMark x1="64572" y1="18261" x2="64572" y2="18261"/>
                        <a14:foregroundMark x1="66414" y1="16957" x2="66414" y2="16957"/>
                        <a14:foregroundMark x1="68039" y1="18478" x2="68039" y2="18478"/>
                        <a14:foregroundMark x1="67281" y1="17391" x2="67281" y2="17391"/>
                        <a14:foregroundMark x1="68581" y1="18043" x2="64030" y2="17609"/>
                        <a14:foregroundMark x1="62238" y1="25000" x2="62080" y2="25652"/>
                        <a14:foregroundMark x1="62660" y1="23261" x2="62238" y2="25000"/>
                        <a14:foregroundMark x1="64030" y1="17609" x2="62660" y2="23261"/>
                        <a14:foregroundMark x1="62080" y1="25652" x2="62080" y2="26087"/>
                        <a14:foregroundMark x1="45720" y1="33696" x2="45720" y2="33696"/>
                        <a14:foregroundMark x1="44204" y1="37826" x2="44204" y2="37826"/>
                        <a14:foregroundMark x1="43445" y1="41304" x2="43445" y2="41304"/>
                        <a14:foregroundMark x1="43770" y1="42826" x2="43770" y2="42826"/>
                        <a14:foregroundMark x1="42904" y1="38261" x2="42904" y2="38261"/>
                        <a14:foregroundMark x1="42037" y1="40217" x2="42037" y2="40217"/>
                        <a14:foregroundMark x1="46082" y1="68723" x2="44312" y2="73261"/>
                        <a14:foregroundMark x1="47237" y1="70652" x2="51354" y2="70435"/>
                        <a14:foregroundMark x1="51354" y1="70435" x2="52438" y2="72609"/>
                        <a14:foregroundMark x1="45720" y1="32174" x2="44745" y2="34348"/>
                        <a14:foregroundMark x1="44854" y1="35435" x2="44095" y2="37174"/>
                        <a14:foregroundMark x1="42037" y1="41739" x2="45395" y2="43261"/>
                        <a14:foregroundMark x1="51375" y1="53696" x2="51571" y2="52609"/>
                        <a14:foregroundMark x1="50163" y1="60435" x2="51375" y2="53696"/>
                        <a14:foregroundMark x1="56663" y1="27609" x2="57855" y2="27609"/>
                        <a14:foregroundMark x1="56338" y1="27174" x2="57530" y2="27174"/>
                        <a14:foregroundMark x1="59155" y1="27609" x2="58180" y2="27609"/>
                        <a14:foregroundMark x1="57746" y1="83913" x2="61972" y2="85000"/>
                        <a14:foregroundMark x1="61972" y1="85000" x2="61972" y2="84565"/>
                        <a14:foregroundMark x1="19177" y1="25870" x2="23510" y2="34783"/>
                        <a14:foregroundMark x1="23510" y1="34783" x2="25785" y2="44348"/>
                        <a14:foregroundMark x1="24963" y1="49225" x2="23185" y2="59783"/>
                        <a14:foregroundMark x1="25785" y1="44348" x2="24986" y2="49091"/>
                        <a14:foregroundMark x1="21343" y1="38261" x2="20739" y2="47790"/>
                        <a14:foregroundMark x1="16544" y1="63552" x2="15710" y2="66304"/>
                        <a14:foregroundMark x1="15710" y1="66304" x2="8451" y2="35435"/>
                        <a14:foregroundMark x1="8451" y1="35435" x2="4875" y2="32174"/>
                        <a14:foregroundMark x1="4875" y1="32174" x2="6717" y2="25000"/>
                        <a14:foregroundMark x1="12173" y1="21840" x2="17226" y2="18913"/>
                        <a14:foregroundMark x1="6717" y1="25000" x2="9455" y2="23414"/>
                        <a14:foregroundMark x1="17226" y1="18913" x2="17443" y2="27826"/>
                        <a14:foregroundMark x1="17443" y1="27826" x2="20910" y2="32391"/>
                        <a14:foregroundMark x1="20910" y1="32391" x2="20802" y2="39348"/>
                        <a14:foregroundMark x1="21993" y1="60435" x2="21993" y2="60435"/>
                        <a14:foregroundMark x1="21018" y1="61957" x2="21018" y2="61957"/>
                        <a14:foregroundMark x1="23835" y1="65000" x2="23835" y2="65000"/>
                        <a14:foregroundMark x1="24485" y1="64348" x2="24485" y2="64348"/>
                        <a14:foregroundMark x1="24269" y1="64130" x2="24269" y2="64130"/>
                        <a14:foregroundMark x1="21127" y1="62609" x2="21127" y2="62609"/>
                        <a14:foregroundMark x1="14085" y1="67174" x2="14085" y2="67174"/>
                        <a14:foregroundMark x1="15276" y1="67609" x2="15276" y2="67609"/>
                        <a14:foregroundMark x1="15168" y1="68696" x2="15168" y2="68696"/>
                        <a14:backgroundMark x1="74323" y1="51304" x2="75298" y2="62609"/>
                        <a14:backgroundMark x1="75298" y1="62609" x2="72156" y2="72609"/>
                        <a14:backgroundMark x1="40731" y1="40217" x2="40087" y2="41957"/>
                        <a14:backgroundMark x1="41455" y1="38261" x2="40731" y2="40217"/>
                        <a14:backgroundMark x1="42637" y1="35070" x2="41455" y2="38261"/>
                        <a14:backgroundMark x1="40087" y1="41957" x2="40087" y2="42826"/>
                        <a14:backgroundMark x1="39978" y1="42826" x2="42362" y2="67609"/>
                        <a14:backgroundMark x1="42362" y1="67609" x2="41170" y2="79565"/>
                        <a14:backgroundMark x1="42687" y1="77174" x2="42687" y2="77174"/>
                        <a14:backgroundMark x1="43445" y1="79565" x2="43445" y2="79565"/>
                        <a14:backgroundMark x1="43229" y1="77609" x2="44312" y2="83261"/>
                        <a14:backgroundMark x1="47021" y1="82609" x2="46811" y2="73757"/>
                        <a14:backgroundMark x1="51673" y1="73813" x2="57205" y2="85652"/>
                        <a14:backgroundMark x1="47346" y1="77609" x2="51679" y2="78261"/>
                        <a14:backgroundMark x1="51679" y1="78261" x2="51679" y2="79348"/>
                        <a14:backgroundMark x1="43229" y1="54348" x2="47021" y2="58696"/>
                        <a14:backgroundMark x1="47021" y1="58696" x2="44312" y2="62609"/>
                        <a14:backgroundMark x1="46587" y1="53043" x2="49621" y2="59130"/>
                        <a14:backgroundMark x1="49621" y1="59130" x2="45720" y2="64783"/>
                        <a14:backgroundMark x1="45720" y1="64783" x2="44854" y2="67174"/>
                        <a14:backgroundMark x1="48537" y1="53043" x2="49404" y2="62826"/>
                        <a14:backgroundMark x1="46075" y1="40101" x2="47671" y2="36522"/>
                        <a14:backgroundMark x1="48537" y1="37609" x2="52113" y2="40652"/>
                        <a14:backgroundMark x1="52113" y1="40652" x2="52113" y2="40652"/>
                        <a14:backgroundMark x1="50813" y1="37174" x2="52113" y2="45000"/>
                        <a14:backgroundMark x1="52113" y1="45000" x2="49187" y2="51957"/>
                        <a14:backgroundMark x1="49729" y1="53696" x2="49729" y2="53696"/>
                        <a14:backgroundMark x1="49621" y1="52391" x2="49621" y2="52391"/>
                        <a14:backgroundMark x1="62189" y1="23261" x2="62189" y2="23261"/>
                        <a14:backgroundMark x1="61972" y1="25000" x2="61972" y2="25000"/>
                        <a14:backgroundMark x1="56230" y1="26522" x2="56663" y2="26522"/>
                        <a14:backgroundMark x1="58810" y1="26522" x2="60130" y2="26522"/>
                        <a14:backgroundMark x1="56446" y1="26304" x2="56609" y2="26321"/>
                        <a14:backgroundMark x1="30444" y1="44130" x2="35645" y2="47609"/>
                        <a14:backgroundMark x1="27736" y1="49565" x2="27194" y2="53478"/>
                        <a14:backgroundMark x1="32286" y1="52826" x2="35970" y2="59130"/>
                        <a14:backgroundMark x1="35970" y1="59130" x2="35320" y2="66522"/>
                        <a14:backgroundMark x1="30661" y1="55870" x2="32936" y2="65652"/>
                        <a14:backgroundMark x1="32936" y1="65652" x2="32286" y2="65870"/>
                        <a14:backgroundMark x1="29252" y1="58478" x2="29252" y2="67174"/>
                        <a14:backgroundMark x1="29252" y1="67174" x2="29144" y2="66739"/>
                        <a14:backgroundMark x1="21127" y1="50217" x2="18093" y2="64783"/>
                        <a14:backgroundMark x1="21560" y1="50217" x2="23835" y2="51957"/>
                        <a14:backgroundMark x1="22427" y1="50217" x2="20802" y2="51522"/>
                        <a14:backgroundMark x1="11484" y1="23043" x2="11484" y2="23043"/>
                        <a14:backgroundMark x1="10943" y1="21957" x2="11918" y2="21739"/>
                        <a14:backgroundMark x1="9751" y1="22391" x2="11918" y2="21739"/>
                        <a14:backgroundMark x1="11593" y1="22609" x2="12243" y2="215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" y="-907951"/>
            <a:ext cx="12191999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3A7ACDE-F77E-A1D8-2F91-2EEC1FBA3DC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74" y="5635363"/>
            <a:ext cx="649785" cy="64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542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roduction_Agenda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CE6A9BE-6C2D-C0A3-0A8B-BF90512FA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577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CE6A9BE-6C2D-C0A3-0A8B-BF90512FA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CA234A2-DB02-A554-A59D-BE8A70E7290D}"/>
              </a:ext>
            </a:extLst>
          </p:cNvPr>
          <p:cNvSpPr/>
          <p:nvPr userDrawn="1"/>
        </p:nvSpPr>
        <p:spPr>
          <a:xfrm>
            <a:off x="2542032" y="2335923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A020D5-9C73-4B8A-5017-EEEBE4EAE366}"/>
              </a:ext>
            </a:extLst>
          </p:cNvPr>
          <p:cNvCxnSpPr>
            <a:cxnSpLocks/>
          </p:cNvCxnSpPr>
          <p:nvPr userDrawn="1"/>
        </p:nvCxnSpPr>
        <p:spPr>
          <a:xfrm>
            <a:off x="4038600" y="2057399"/>
            <a:ext cx="17291" cy="27432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FB7A361B-1D2E-A209-252D-14C243AC8B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4526" y="1658408"/>
            <a:ext cx="5157787" cy="3684588"/>
          </a:xfrm>
        </p:spPr>
        <p:txBody>
          <a:bodyPr>
            <a:normAutofit/>
          </a:bodyPr>
          <a:lstStyle>
            <a:lvl1pPr rtl="0">
              <a:defRPr sz="2400"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9D714AD-A913-5118-9702-9EB4C0917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rtl="0">
              <a:defRPr sz="3600"/>
            </a:lvl1pPr>
          </a:lstStyle>
          <a:p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D5C6D0-2E0F-646B-7929-4DE4A1C728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05" y="240239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703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64D96A1-BB16-4242-FA23-32D9CC1E5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90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64D96A1-BB16-4242-FA23-32D9CC1E5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E154DB-2AF7-8470-A401-C10B5E123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C289B-B010-D366-A6E5-DF436DB2989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159BE0F-3D34-3F50-6017-B549AEB78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E54E74-3D82-1B2E-E911-08263047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0F96B00-19B0-8BA8-FBF3-CDC8E4EE2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FBD0F81-BA5F-DA5A-70B1-D2A1DDAE63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2758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982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roduction_Agenda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CE6A9BE-6C2D-C0A3-0A8B-BF90512FA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903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CE6A9BE-6C2D-C0A3-0A8B-BF90512FA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CA234A2-DB02-A554-A59D-BE8A70E7290D}"/>
              </a:ext>
            </a:extLst>
          </p:cNvPr>
          <p:cNvSpPr/>
          <p:nvPr userDrawn="1"/>
        </p:nvSpPr>
        <p:spPr>
          <a:xfrm>
            <a:off x="2542032" y="2335923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A020D5-9C73-4B8A-5017-EEEBE4EAE366}"/>
              </a:ext>
            </a:extLst>
          </p:cNvPr>
          <p:cNvCxnSpPr>
            <a:cxnSpLocks/>
          </p:cNvCxnSpPr>
          <p:nvPr userDrawn="1"/>
        </p:nvCxnSpPr>
        <p:spPr>
          <a:xfrm>
            <a:off x="4038600" y="2057399"/>
            <a:ext cx="17291" cy="27432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FB7A361B-1D2E-A209-252D-14C243AC8B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4526" y="2071363"/>
            <a:ext cx="5157787" cy="3684588"/>
          </a:xfrm>
        </p:spPr>
        <p:txBody>
          <a:bodyPr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9D714AD-A913-5118-9702-9EB4C0917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D5C6D0-2E0F-646B-7929-4DE4A1C728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05" y="240239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04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E82A1ED-6C1F-ED76-C918-17AA2C5EA6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13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E82A1ED-6C1F-ED76-C918-17AA2C5EA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8285E-5EC2-2CD3-0C61-753AC43554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5280F1-B06F-39B0-9986-25741EF9691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2FF02-5183-795E-FCDE-04FD31EF34C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AF091FE-0F26-1125-1B33-40D44D0689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E494DF6-9D9B-ECEE-992B-7B5B7B91C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7D59F2B-00A7-8239-D5A0-65746C10D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B2F494D-A81C-229A-0C02-3585EC6380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965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368F3EBA-DAA8-103D-408A-236FBEE03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368F3EBA-DAA8-103D-408A-236FBEE03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84CC83-6791-BAC1-76C1-6829BF3D4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EB800-E56E-1088-FF00-5938A37DB57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28CDA-C001-308D-C4EA-B65BE72DC88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FE74C9-DC45-7B4B-A1B4-A14487B52FB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912440-EC9C-B359-7443-9BAB9BAADAD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2EF75E6-3A13-33F7-D386-D4B80523C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85FB219-802E-9A2D-0D5C-864B19249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AC8A351-D033-0FB4-A1C3-209533F69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D83F1E0-E381-284F-01CC-BF917D36FD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389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019F899-901B-47CE-5A63-95196EAE8B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612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019F899-901B-47CE-5A63-95196EAE8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1E3DB2-5A57-B29C-FE18-A83850AD8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8666AD9-A37F-DE2F-7F1E-0EB0893D1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8B2ECA9-8A4C-1514-2587-91B7BBC89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3593E4C-1ECD-E695-CEAA-CF8F15948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226DB4E-65B9-082D-6663-ACB0A4B87D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5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C1E781-A1D2-B76F-9151-F37EC358F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901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E5B746-0E71-8E30-C8DB-C535E9A1BB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6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E5B746-0E71-8E30-C8DB-C535E9A1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456E62E-F751-14B7-2C37-67F3A3C743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8377BB4-163F-2180-9F4E-C33BDF7B8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57C5F15-2C08-3B87-DCC4-ADF7B1B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89C06F-7B34-FA6F-FA5C-EEEA4CA2CC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4" name="Titel 4">
            <a:extLst>
              <a:ext uri="{FF2B5EF4-FFF2-40B4-BE49-F238E27FC236}">
                <a16:creationId xmlns:a16="http://schemas.microsoft.com/office/drawing/2014/main" id="{3F7353AD-8337-DF4A-15A0-D1EEA8BEB41F}"/>
              </a:ext>
            </a:extLst>
          </p:cNvPr>
          <p:cNvSpPr txBox="1">
            <a:spLocks/>
          </p:cNvSpPr>
          <p:nvPr userDrawn="1"/>
        </p:nvSpPr>
        <p:spPr>
          <a:xfrm>
            <a:off x="464766" y="484101"/>
            <a:ext cx="10687049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2800"/>
              <a:t>D</a:t>
            </a:r>
            <a:endParaRPr lang="de-DE" sz="2800"/>
          </a:p>
        </p:txBody>
      </p:sp>
    </p:spTree>
    <p:extLst>
      <p:ext uri="{BB962C8B-B14F-4D97-AF65-F5344CB8AC3E}">
        <p14:creationId xmlns:p14="http://schemas.microsoft.com/office/powerpoint/2010/main" val="787469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A0CE17E-51A2-3E6B-98CC-74BC1D559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087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A0CE17E-51A2-3E6B-98CC-74BC1D559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F64C6A1A-0F55-B21D-250E-670B1CF9EB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808B3-DCAB-2BA0-2A1F-F84C53DFA6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98711F2-B640-18AC-E364-0D3983E3B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0E3A0AC-3BC2-12D0-DC8A-FAFEAAC60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877E70-4E3F-1586-9770-34671F8CC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630A2D2-4403-1BAD-F5A1-B768D9037B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86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EE94143-13F5-BCB6-BF88-C5CA5D78F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634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EE94143-13F5-BCB6-BF88-C5CA5D78F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42B395-7654-F9E1-2E5A-24F2631169E2}"/>
              </a:ext>
            </a:extLst>
          </p:cNvPr>
          <p:cNvCxnSpPr>
            <a:cxnSpLocks/>
          </p:cNvCxnSpPr>
          <p:nvPr userDrawn="1"/>
        </p:nvCxnSpPr>
        <p:spPr>
          <a:xfrm>
            <a:off x="2264228" y="1071987"/>
            <a:ext cx="0" cy="431281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3DE00EE-7E23-8B63-62C7-60F1E61F2816}"/>
              </a:ext>
            </a:extLst>
          </p:cNvPr>
          <p:cNvSpPr/>
          <p:nvPr userDrawn="1"/>
        </p:nvSpPr>
        <p:spPr>
          <a:xfrm>
            <a:off x="661951" y="2011399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2BD691F-208C-373A-8411-6BEE682F10D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22" y="212020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980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_oder_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7912F2A-E177-F9F9-9FA7-7CA3C9302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6438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7912F2A-E177-F9F9-9FA7-7CA3C9302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BEB47-7278-7790-1500-F262111C4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Poppins Light"/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  <a:latin typeface="Poppins Light"/>
            </a:endParaRPr>
          </a:p>
        </p:txBody>
      </p:sp>
      <p:pic>
        <p:nvPicPr>
          <p:cNvPr id="3" name="Grafik 2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F2A7C317-AD22-A72D-1D4E-3AC392441D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2632" y="0"/>
            <a:ext cx="8129368" cy="6858000"/>
          </a:xfrm>
          <a:custGeom>
            <a:avLst/>
            <a:gdLst/>
            <a:ahLst/>
            <a:cxnLst/>
            <a:rect l="l" t="t" r="r" b="b"/>
            <a:pathLst>
              <a:path w="8129366" h="6858000">
                <a:moveTo>
                  <a:pt x="1619628" y="0"/>
                </a:moveTo>
                <a:lnTo>
                  <a:pt x="4520115" y="0"/>
                </a:lnTo>
                <a:lnTo>
                  <a:pt x="6067239" y="0"/>
                </a:lnTo>
                <a:lnTo>
                  <a:pt x="8129366" y="0"/>
                </a:lnTo>
                <a:lnTo>
                  <a:pt x="8129366" y="6858000"/>
                </a:lnTo>
                <a:lnTo>
                  <a:pt x="6067239" y="6858000"/>
                </a:lnTo>
                <a:lnTo>
                  <a:pt x="4520115" y="6858000"/>
                </a:lnTo>
                <a:lnTo>
                  <a:pt x="1619627" y="6858000"/>
                </a:lnTo>
                <a:lnTo>
                  <a:pt x="1615622" y="6854853"/>
                </a:lnTo>
                <a:cubicBezTo>
                  <a:pt x="628921" y="6040555"/>
                  <a:pt x="0" y="4808224"/>
                  <a:pt x="0" y="3429000"/>
                </a:cubicBezTo>
                <a:cubicBezTo>
                  <a:pt x="0" y="2049777"/>
                  <a:pt x="628921" y="817446"/>
                  <a:pt x="1615622" y="3148"/>
                </a:cubicBezTo>
                <a:close/>
              </a:path>
            </a:pathLst>
          </a:custGeom>
        </p:spPr>
      </p:pic>
      <p:sp>
        <p:nvSpPr>
          <p:cNvPr id="10" name="TextBox 18">
            <a:extLst>
              <a:ext uri="{FF2B5EF4-FFF2-40B4-BE49-F238E27FC236}">
                <a16:creationId xmlns:a16="http://schemas.microsoft.com/office/drawing/2014/main" id="{D2CBD72A-839D-CB8D-A642-C800320C0D2E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2400">
                <a:latin typeface="+mj-lt"/>
              </a:rPr>
              <a:t>IFOHRA GmbH </a:t>
            </a: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4B3FA7A7-C05F-2B8A-DCAE-8E5544BD1946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400"/>
              <a:t>Institute for Healthcare Robotics and Automatio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65B8EF-3E97-21F7-249D-FE3E6F3C38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11" y="5660571"/>
            <a:ext cx="695779" cy="69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725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64D96A1-BB16-4242-FA23-32D9CC1E5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175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64D96A1-BB16-4242-FA23-32D9CC1E5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E154DB-2AF7-8470-A401-C10B5E123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C289B-B010-D366-A6E5-DF436DB298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159BE0F-3D34-3F50-6017-B549AEB78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E54E74-3D82-1B2E-E911-08263047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0F96B00-19B0-8BA8-FBF3-CDC8E4EE2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FBD0F81-BA5F-DA5A-70B1-D2A1DDAE63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FDAF0434-C688-D20B-21D7-06546F323724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1514233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510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859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46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E82A1ED-6C1F-ED76-C918-17AA2C5EA6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055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E82A1ED-6C1F-ED76-C918-17AA2C5EA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8285E-5EC2-2CD3-0C61-753AC43554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5280F1-B06F-39B0-9986-25741EF969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2FF02-5183-795E-FCDE-04FD31EF34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AF091FE-0F26-1125-1B33-40D44D0689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E494DF6-9D9B-ECEE-992B-7B5B7B91C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7D59F2B-00A7-8239-D5A0-65746C10D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B2F494D-A81C-229A-0C02-3585EC6380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6C9E6AC8-852A-442A-F8BB-2C9E5F50A903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4156453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368F3EBA-DAA8-103D-408A-236FBEE03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85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368F3EBA-DAA8-103D-408A-236FBEE03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84CC83-6791-BAC1-76C1-6829BF3D4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EB800-E56E-1088-FF00-5938A37DB5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28CDA-C001-308D-C4EA-B65BE72DC8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FE74C9-DC45-7B4B-A1B4-A14487B52F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912440-EC9C-B359-7443-9BAB9BAADA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2EF75E6-3A13-33F7-D386-D4B80523C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85FB219-802E-9A2D-0D5C-864B19249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AC8A351-D033-0FB4-A1C3-209533F69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D83F1E0-E381-284F-01CC-BF917D36FD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108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019F899-901B-47CE-5A63-95196EAE8B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0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019F899-901B-47CE-5A63-95196EAE8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1E3DB2-5A57-B29C-FE18-A83850AD8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8666AD9-A37F-DE2F-7F1E-0EB0893D1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8B2ECA9-8A4C-1514-2587-91B7BBC89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3593E4C-1ECD-E695-CEAA-CF8F15948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226DB4E-65B9-082D-6663-ACB0A4B87D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759110CE-FC57-94E7-6052-10C00D344B6B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108437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1945157-2C21-8300-A748-99DAACAEA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08752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5" progId="TCLayout.ActiveDocument.1">
                  <p:embed/>
                </p:oleObj>
              </mc:Choice>
              <mc:Fallback>
                <p:oleObj name="think-cell Folie" r:id="rId18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1945157-2C21-8300-A748-99DAACAEA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823778-8DFF-E77B-CEAF-8D709F0C3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A50943-B504-4991-A737-50FE465564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274AE-DF5B-560F-36F3-21A33D08C3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3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AEBF1-BF01-A317-2F42-7B9A7F0616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B0E9A-A30F-49DE-67D4-CF8625C1D9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55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70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1945157-2C21-8300-A748-99DAACAEA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95628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95" progId="TCLayout.ActiveDocument.1">
                  <p:embed/>
                </p:oleObj>
              </mc:Choice>
              <mc:Fallback>
                <p:oleObj name="think-cell Folie" r:id="rId15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1945157-2C21-8300-A748-99DAACAEA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823778-8DFF-E77B-CEAF-8D709F0C3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A50943-B504-4991-A737-50FE465564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274AE-DF5B-560F-36F3-21A33D08C3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AEBF1-BF01-A317-2F42-7B9A7F0616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B0E9A-A30F-49DE-67D4-CF8625C1D9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B37CBD81-33EE-4AD3-566A-3658935730E0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318368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microsoft.com/office/2007/relationships/hdphoto" Target="../media/hdphoto2.wdp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4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2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3000" b="-2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284828-F450-D1E0-1D91-DB44B9D79F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31110A-B915-1789-85F1-BBC365D414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717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31110A-B915-1789-85F1-BBC365D41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7A05498A-085B-15F9-CF04-7B5B879FA19B}"/>
              </a:ext>
            </a:extLst>
          </p:cNvPr>
          <p:cNvSpPr/>
          <p:nvPr/>
        </p:nvSpPr>
        <p:spPr>
          <a:xfrm>
            <a:off x="0" y="0"/>
            <a:ext cx="6817766" cy="5435600"/>
          </a:xfrm>
          <a:prstGeom prst="rect">
            <a:avLst/>
          </a:prstGeom>
          <a:solidFill>
            <a:srgbClr val="395A85"/>
          </a:solidFill>
          <a:ln>
            <a:solidFill>
              <a:srgbClr val="395A8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100" kern="10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</p:txBody>
      </p:sp>
      <p:pic>
        <p:nvPicPr>
          <p:cNvPr id="3" name="Grafik 2" descr="Ein Bild, das Text, Grafiken, Schrift, Grafikdesign enthält.&#10;&#10;Automatisch generierte Beschreibung">
            <a:extLst>
              <a:ext uri="{FF2B5EF4-FFF2-40B4-BE49-F238E27FC236}">
                <a16:creationId xmlns:a16="http://schemas.microsoft.com/office/drawing/2014/main" id="{453D49D9-8C60-285A-F7C2-7162A6C30F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996" y="0"/>
            <a:ext cx="1715770" cy="1715770"/>
          </a:xfrm>
          <a:prstGeom prst="rect">
            <a:avLst/>
          </a:prstGeom>
        </p:spPr>
      </p:pic>
      <p:sp>
        <p:nvSpPr>
          <p:cNvPr id="5" name="Textfeld 2">
            <a:extLst>
              <a:ext uri="{FF2B5EF4-FFF2-40B4-BE49-F238E27FC236}">
                <a16:creationId xmlns:a16="http://schemas.microsoft.com/office/drawing/2014/main" id="{2A08715C-C1F4-A770-DF4C-4C3FED40EF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8654" y="1856584"/>
            <a:ext cx="5985164" cy="1489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800" kern="100" dirty="0">
                <a:solidFill>
                  <a:srgbClr val="FFFFFF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hitepaper</a:t>
            </a:r>
            <a:r>
              <a:rPr lang="de-DE" sz="4000" kern="100" dirty="0">
                <a:solidFill>
                  <a:srgbClr val="FFFFFF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4000" kern="100" dirty="0">
                <a:solidFill>
                  <a:srgbClr val="FFFFFF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SG Nachhaltigkeitsbericht</a:t>
            </a:r>
            <a:endParaRPr lang="de-DE" sz="11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CC8CDE7-3A10-5869-50D7-1A55B31995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354534"/>
            <a:ext cx="698500" cy="13493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48832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3000" b="-2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E5496EF-B8C9-6CB5-2D9A-97B04164C5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5298C6-BCDB-10B3-4564-416D7BECA4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5298C6-BCDB-10B3-4564-416D7BECA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feld 2">
            <a:extLst>
              <a:ext uri="{FF2B5EF4-FFF2-40B4-BE49-F238E27FC236}">
                <a16:creationId xmlns:a16="http://schemas.microsoft.com/office/drawing/2014/main" id="{E4ED3CFA-CE53-0A86-CB5B-5F127C3C58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07909" y="441028"/>
            <a:ext cx="3050877" cy="771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0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Qualitative und quantitative Vorteile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1E2A5C9-794A-14A4-E8E7-01DC651240D7}"/>
              </a:ext>
            </a:extLst>
          </p:cNvPr>
          <p:cNvSpPr txBox="1"/>
          <p:nvPr/>
        </p:nvSpPr>
        <p:spPr>
          <a:xfrm>
            <a:off x="590035" y="2094372"/>
            <a:ext cx="57619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G Reporting – Beschreibung, Vorteile</a:t>
            </a:r>
            <a:endParaRPr lang="de-DE" sz="2000" b="1" kern="100" dirty="0">
              <a:solidFill>
                <a:srgbClr val="395A85"/>
              </a:solidFill>
              <a:effectLst/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sz="2000" b="1" dirty="0">
              <a:solidFill>
                <a:srgbClr val="395A85"/>
              </a:solidFill>
              <a:latin typeface="Aptos Display" panose="020B000402020202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5A159C1-93B3-023E-FB8B-B5DED53E9EE6}"/>
              </a:ext>
            </a:extLst>
          </p:cNvPr>
          <p:cNvSpPr txBox="1"/>
          <p:nvPr/>
        </p:nvSpPr>
        <p:spPr>
          <a:xfrm>
            <a:off x="590035" y="2802258"/>
            <a:ext cx="60977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…</a:t>
            </a:r>
            <a:endParaRPr lang="de-DE" sz="1600" kern="100" dirty="0">
              <a:latin typeface="Aptos Display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69C43D1E-5A18-AB0D-5066-B255E8511B97}"/>
              </a:ext>
            </a:extLst>
          </p:cNvPr>
          <p:cNvCxnSpPr>
            <a:cxnSpLocks/>
          </p:cNvCxnSpPr>
          <p:nvPr/>
        </p:nvCxnSpPr>
        <p:spPr>
          <a:xfrm>
            <a:off x="664815" y="2637223"/>
            <a:ext cx="5687181" cy="0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B011A27C-569C-9B74-C179-EC9B4FFAEACB}"/>
              </a:ext>
            </a:extLst>
          </p:cNvPr>
          <p:cNvGrpSpPr/>
          <p:nvPr/>
        </p:nvGrpSpPr>
        <p:grpSpPr>
          <a:xfrm>
            <a:off x="9138297" y="1075720"/>
            <a:ext cx="1925632" cy="5586632"/>
            <a:chOff x="8973387" y="1295853"/>
            <a:chExt cx="1925632" cy="5586632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4AF0321A-2609-3AB3-4C07-BA731D8804D3}"/>
                </a:ext>
              </a:extLst>
            </p:cNvPr>
            <p:cNvGrpSpPr/>
            <p:nvPr/>
          </p:nvGrpSpPr>
          <p:grpSpPr>
            <a:xfrm>
              <a:off x="9386296" y="1918221"/>
              <a:ext cx="1085219" cy="601287"/>
              <a:chOff x="433650" y="-1652305"/>
              <a:chExt cx="1293207" cy="750947"/>
            </a:xfrm>
            <a:solidFill>
              <a:srgbClr val="FFFFFF"/>
            </a:solidFill>
          </p:grpSpPr>
          <p:sp>
            <p:nvSpPr>
              <p:cNvPr id="19" name="Halbbogen 18">
                <a:extLst>
                  <a:ext uri="{FF2B5EF4-FFF2-40B4-BE49-F238E27FC236}">
                    <a16:creationId xmlns:a16="http://schemas.microsoft.com/office/drawing/2014/main" id="{7C7E9DBD-A3BC-BD4C-DBD7-92FD3C24035E}"/>
                  </a:ext>
                </a:extLst>
              </p:cNvPr>
              <p:cNvSpPr/>
              <p:nvPr/>
            </p:nvSpPr>
            <p:spPr>
              <a:xfrm rot="16200000">
                <a:off x="986379" y="-1642077"/>
                <a:ext cx="750706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Halbbogen 19">
                <a:extLst>
                  <a:ext uri="{FF2B5EF4-FFF2-40B4-BE49-F238E27FC236}">
                    <a16:creationId xmlns:a16="http://schemas.microsoft.com/office/drawing/2014/main" id="{C087E273-E3DA-4142-A15F-139173338413}"/>
                  </a:ext>
                </a:extLst>
              </p:cNvPr>
              <p:cNvSpPr/>
              <p:nvPr/>
            </p:nvSpPr>
            <p:spPr>
              <a:xfrm rot="5400000" flipH="1">
                <a:off x="423424" y="-1641834"/>
                <a:ext cx="750702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1F4442ED-1DFF-6834-5A47-E8694BC4A858}"/>
                </a:ext>
              </a:extLst>
            </p:cNvPr>
            <p:cNvSpPr/>
            <p:nvPr/>
          </p:nvSpPr>
          <p:spPr>
            <a:xfrm>
              <a:off x="8979096" y="1295853"/>
              <a:ext cx="1919923" cy="775901"/>
            </a:xfrm>
            <a:prstGeom prst="round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Effizienz und Kostensenkung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4D77A09-303F-5746-0096-3E7F515C2704}"/>
                </a:ext>
              </a:extLst>
            </p:cNvPr>
            <p:cNvGrpSpPr/>
            <p:nvPr/>
          </p:nvGrpSpPr>
          <p:grpSpPr>
            <a:xfrm>
              <a:off x="9388328" y="2754133"/>
              <a:ext cx="1085215" cy="601291"/>
              <a:chOff x="422293" y="-1656272"/>
              <a:chExt cx="1293202" cy="750951"/>
            </a:xfrm>
            <a:solidFill>
              <a:srgbClr val="FFFFFF"/>
            </a:solidFill>
          </p:grpSpPr>
          <p:sp>
            <p:nvSpPr>
              <p:cNvPr id="17" name="Halbbogen 16">
                <a:extLst>
                  <a:ext uri="{FF2B5EF4-FFF2-40B4-BE49-F238E27FC236}">
                    <a16:creationId xmlns:a16="http://schemas.microsoft.com/office/drawing/2014/main" id="{B8E8C34B-B58A-AB08-418C-22D17C01AF54}"/>
                  </a:ext>
                </a:extLst>
              </p:cNvPr>
              <p:cNvSpPr/>
              <p:nvPr/>
            </p:nvSpPr>
            <p:spPr>
              <a:xfrm rot="16200000">
                <a:off x="975016" y="-1646043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Halbbogen 17">
                <a:extLst>
                  <a:ext uri="{FF2B5EF4-FFF2-40B4-BE49-F238E27FC236}">
                    <a16:creationId xmlns:a16="http://schemas.microsoft.com/office/drawing/2014/main" id="{64856162-D491-B5FB-93CB-A946803E4D49}"/>
                  </a:ext>
                </a:extLst>
              </p:cNvPr>
              <p:cNvSpPr/>
              <p:nvPr/>
            </p:nvSpPr>
            <p:spPr>
              <a:xfrm rot="5400000" flipH="1">
                <a:off x="412064" y="-1645799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19BDD8AE-A634-BB95-CF5D-C4120BD6CF43}"/>
                </a:ext>
              </a:extLst>
            </p:cNvPr>
            <p:cNvGrpSpPr/>
            <p:nvPr/>
          </p:nvGrpSpPr>
          <p:grpSpPr>
            <a:xfrm>
              <a:off x="9402624" y="3817227"/>
              <a:ext cx="1085218" cy="601289"/>
              <a:chOff x="446212" y="-1405423"/>
              <a:chExt cx="1293207" cy="750949"/>
            </a:xfrm>
            <a:solidFill>
              <a:srgbClr val="FFFFFF"/>
            </a:solidFill>
          </p:grpSpPr>
          <p:sp>
            <p:nvSpPr>
              <p:cNvPr id="15" name="Halbbogen 14">
                <a:extLst>
                  <a:ext uri="{FF2B5EF4-FFF2-40B4-BE49-F238E27FC236}">
                    <a16:creationId xmlns:a16="http://schemas.microsoft.com/office/drawing/2014/main" id="{81D800C3-2519-6FE1-7AC6-D2CC906824F5}"/>
                  </a:ext>
                </a:extLst>
              </p:cNvPr>
              <p:cNvSpPr/>
              <p:nvPr/>
            </p:nvSpPr>
            <p:spPr>
              <a:xfrm rot="16200000">
                <a:off x="998940" y="-1395194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Halbbogen 15">
                <a:extLst>
                  <a:ext uri="{FF2B5EF4-FFF2-40B4-BE49-F238E27FC236}">
                    <a16:creationId xmlns:a16="http://schemas.microsoft.com/office/drawing/2014/main" id="{816024EC-3D6B-FA88-EF1F-0A521B158875}"/>
                  </a:ext>
                </a:extLst>
              </p:cNvPr>
              <p:cNvSpPr/>
              <p:nvPr/>
            </p:nvSpPr>
            <p:spPr>
              <a:xfrm rot="5400000" flipH="1">
                <a:off x="435985" y="-1394951"/>
                <a:ext cx="750704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8546C3BD-57C3-9E2F-29F7-0C62A799D27C}"/>
                </a:ext>
              </a:extLst>
            </p:cNvPr>
            <p:cNvGrpSpPr/>
            <p:nvPr/>
          </p:nvGrpSpPr>
          <p:grpSpPr>
            <a:xfrm>
              <a:off x="9386296" y="4887000"/>
              <a:ext cx="1085216" cy="601287"/>
              <a:chOff x="429871" y="-1394725"/>
              <a:chExt cx="1293203" cy="750948"/>
            </a:xfrm>
            <a:solidFill>
              <a:srgbClr val="FFFFFF"/>
            </a:solidFill>
          </p:grpSpPr>
          <p:sp>
            <p:nvSpPr>
              <p:cNvPr id="13" name="Halbbogen 12">
                <a:extLst>
                  <a:ext uri="{FF2B5EF4-FFF2-40B4-BE49-F238E27FC236}">
                    <a16:creationId xmlns:a16="http://schemas.microsoft.com/office/drawing/2014/main" id="{3BC0ED23-52BE-9C12-2888-47C2FB5AEDA5}"/>
                  </a:ext>
                </a:extLst>
              </p:cNvPr>
              <p:cNvSpPr/>
              <p:nvPr/>
            </p:nvSpPr>
            <p:spPr>
              <a:xfrm rot="16200000">
                <a:off x="982595" y="-1384496"/>
                <a:ext cx="750708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Halbbogen 13">
                <a:extLst>
                  <a:ext uri="{FF2B5EF4-FFF2-40B4-BE49-F238E27FC236}">
                    <a16:creationId xmlns:a16="http://schemas.microsoft.com/office/drawing/2014/main" id="{D3FE79CD-6995-F6FD-5779-217CCDFFEA36}"/>
                  </a:ext>
                </a:extLst>
              </p:cNvPr>
              <p:cNvSpPr/>
              <p:nvPr/>
            </p:nvSpPr>
            <p:spPr>
              <a:xfrm rot="5400000" flipH="1">
                <a:off x="419644" y="-1384254"/>
                <a:ext cx="750704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05A3B01B-D636-FF6E-09ED-524B2FC20DD0}"/>
                </a:ext>
              </a:extLst>
            </p:cNvPr>
            <p:cNvSpPr/>
            <p:nvPr/>
          </p:nvSpPr>
          <p:spPr>
            <a:xfrm>
              <a:off x="8979096" y="2372203"/>
              <a:ext cx="1919923" cy="534622"/>
            </a:xfrm>
            <a:prstGeom prst="roundRect">
              <a:avLst>
                <a:gd name="adj" fmla="val 25575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Risikomanagement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30CBA7AA-EC3D-8971-8810-2C7AF5AFFFD7}"/>
                </a:ext>
              </a:extLst>
            </p:cNvPr>
            <p:cNvSpPr/>
            <p:nvPr/>
          </p:nvSpPr>
          <p:spPr>
            <a:xfrm>
              <a:off x="8979096" y="3199719"/>
              <a:ext cx="1919923" cy="771706"/>
            </a:xfrm>
            <a:prstGeom prst="round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Innovation und Wettbewerbsvorteil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F39A5E8B-D67B-3EE8-C5C9-462DD5EC952B}"/>
                </a:ext>
              </a:extLst>
            </p:cNvPr>
            <p:cNvSpPr/>
            <p:nvPr/>
          </p:nvSpPr>
          <p:spPr>
            <a:xfrm>
              <a:off x="8973387" y="4264319"/>
              <a:ext cx="1919923" cy="771512"/>
            </a:xfrm>
            <a:prstGeom prst="roundRect">
              <a:avLst>
                <a:gd name="adj" fmla="val 23793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Reputation und Markenwert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AC4BA149-ADC3-CA99-4CFD-57C882972301}"/>
                </a:ext>
              </a:extLst>
            </p:cNvPr>
            <p:cNvSpPr/>
            <p:nvPr/>
          </p:nvSpPr>
          <p:spPr>
            <a:xfrm>
              <a:off x="8973387" y="5328725"/>
              <a:ext cx="1919923" cy="534623"/>
            </a:xfrm>
            <a:prstGeom prst="round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Zugang zu Kapital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2C30D8C2-1399-EC61-BF8C-67EEB7345BB9}"/>
                </a:ext>
              </a:extLst>
            </p:cNvPr>
            <p:cNvSpPr/>
            <p:nvPr/>
          </p:nvSpPr>
          <p:spPr>
            <a:xfrm>
              <a:off x="8973387" y="6110972"/>
              <a:ext cx="1919923" cy="771513"/>
            </a:xfrm>
            <a:prstGeom prst="round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Mitarbeitergewinnung und -bindung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67FA9E6A-0494-CA22-02E9-473615C515FC}"/>
                </a:ext>
              </a:extLst>
            </p:cNvPr>
            <p:cNvGrpSpPr/>
            <p:nvPr/>
          </p:nvGrpSpPr>
          <p:grpSpPr>
            <a:xfrm>
              <a:off x="9386296" y="5709501"/>
              <a:ext cx="1085216" cy="601287"/>
              <a:chOff x="429871" y="-1394725"/>
              <a:chExt cx="1293203" cy="750948"/>
            </a:xfrm>
            <a:solidFill>
              <a:srgbClr val="FFFFFF"/>
            </a:solidFill>
          </p:grpSpPr>
          <p:sp>
            <p:nvSpPr>
              <p:cNvPr id="27" name="Halbbogen 26">
                <a:extLst>
                  <a:ext uri="{FF2B5EF4-FFF2-40B4-BE49-F238E27FC236}">
                    <a16:creationId xmlns:a16="http://schemas.microsoft.com/office/drawing/2014/main" id="{965A7D8B-FC54-4CAE-3826-5B1A55C7C6B6}"/>
                  </a:ext>
                </a:extLst>
              </p:cNvPr>
              <p:cNvSpPr/>
              <p:nvPr/>
            </p:nvSpPr>
            <p:spPr>
              <a:xfrm rot="16200000">
                <a:off x="982595" y="-1384496"/>
                <a:ext cx="750708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Halbbogen 27">
                <a:extLst>
                  <a:ext uri="{FF2B5EF4-FFF2-40B4-BE49-F238E27FC236}">
                    <a16:creationId xmlns:a16="http://schemas.microsoft.com/office/drawing/2014/main" id="{3F627CC5-67DF-1841-28BE-5B4F5963BC68}"/>
                  </a:ext>
                </a:extLst>
              </p:cNvPr>
              <p:cNvSpPr/>
              <p:nvPr/>
            </p:nvSpPr>
            <p:spPr>
              <a:xfrm rot="5400000" flipH="1">
                <a:off x="419644" y="-1384254"/>
                <a:ext cx="750704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268E68C-63EA-AD54-5C14-03721B92D970}"/>
              </a:ext>
            </a:extLst>
          </p:cNvPr>
          <p:cNvGrpSpPr/>
          <p:nvPr/>
        </p:nvGrpSpPr>
        <p:grpSpPr>
          <a:xfrm>
            <a:off x="4592353" y="3568489"/>
            <a:ext cx="1085215" cy="601291"/>
            <a:chOff x="1610333" y="2983234"/>
            <a:chExt cx="1085215" cy="601291"/>
          </a:xfrm>
          <a:solidFill>
            <a:srgbClr val="FFFFFF"/>
          </a:solidFill>
        </p:grpSpPr>
        <p:sp>
          <p:nvSpPr>
            <p:cNvPr id="30" name="Halbbogen 29">
              <a:extLst>
                <a:ext uri="{FF2B5EF4-FFF2-40B4-BE49-F238E27FC236}">
                  <a16:creationId xmlns:a16="http://schemas.microsoft.com/office/drawing/2014/main" id="{C26474FB-DD55-496A-81CA-863ED6904727}"/>
                </a:ext>
              </a:extLst>
            </p:cNvPr>
            <p:cNvSpPr/>
            <p:nvPr/>
          </p:nvSpPr>
          <p:spPr>
            <a:xfrm rot="16200000">
              <a:off x="2088599" y="2977380"/>
              <a:ext cx="601096" cy="612803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  <p:sp>
          <p:nvSpPr>
            <p:cNvPr id="31" name="Halbbogen 30">
              <a:extLst>
                <a:ext uri="{FF2B5EF4-FFF2-40B4-BE49-F238E27FC236}">
                  <a16:creationId xmlns:a16="http://schemas.microsoft.com/office/drawing/2014/main" id="{7CF1F9AD-1867-A70B-D22F-A43ADF8B0889}"/>
                </a:ext>
              </a:extLst>
            </p:cNvPr>
            <p:cNvSpPr/>
            <p:nvPr/>
          </p:nvSpPr>
          <p:spPr>
            <a:xfrm rot="5400000" flipH="1">
              <a:off x="1616187" y="2977575"/>
              <a:ext cx="601096" cy="612803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E6F13FA9-36E2-D9FC-59D3-A63567ED01E2}"/>
              </a:ext>
            </a:extLst>
          </p:cNvPr>
          <p:cNvGrpSpPr/>
          <p:nvPr/>
        </p:nvGrpSpPr>
        <p:grpSpPr>
          <a:xfrm>
            <a:off x="4640821" y="5535273"/>
            <a:ext cx="1085217" cy="601286"/>
            <a:chOff x="1608303" y="2147321"/>
            <a:chExt cx="1085217" cy="601286"/>
          </a:xfrm>
          <a:solidFill>
            <a:srgbClr val="FFFFFF"/>
          </a:solidFill>
        </p:grpSpPr>
        <p:sp>
          <p:nvSpPr>
            <p:cNvPr id="33" name="Halbbogen 32">
              <a:extLst>
                <a:ext uri="{FF2B5EF4-FFF2-40B4-BE49-F238E27FC236}">
                  <a16:creationId xmlns:a16="http://schemas.microsoft.com/office/drawing/2014/main" id="{A759E968-1A47-E2EC-DCC4-A78B191B61EF}"/>
                </a:ext>
              </a:extLst>
            </p:cNvPr>
            <p:cNvSpPr/>
            <p:nvPr/>
          </p:nvSpPr>
          <p:spPr>
            <a:xfrm rot="16200000">
              <a:off x="2086572" y="2141466"/>
              <a:ext cx="601094" cy="612803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  <p:sp>
          <p:nvSpPr>
            <p:cNvPr id="34" name="Halbbogen 33">
              <a:extLst>
                <a:ext uri="{FF2B5EF4-FFF2-40B4-BE49-F238E27FC236}">
                  <a16:creationId xmlns:a16="http://schemas.microsoft.com/office/drawing/2014/main" id="{DDED4472-6703-E78D-2FDB-7DC067C20E04}"/>
                </a:ext>
              </a:extLst>
            </p:cNvPr>
            <p:cNvSpPr/>
            <p:nvPr/>
          </p:nvSpPr>
          <p:spPr>
            <a:xfrm rot="5400000" flipH="1">
              <a:off x="1614158" y="2141661"/>
              <a:ext cx="601091" cy="612802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4B13F428-6068-B491-1B33-386B019923DC}"/>
              </a:ext>
            </a:extLst>
          </p:cNvPr>
          <p:cNvGrpSpPr/>
          <p:nvPr/>
        </p:nvGrpSpPr>
        <p:grpSpPr>
          <a:xfrm>
            <a:off x="2453507" y="4425967"/>
            <a:ext cx="1085217" cy="601286"/>
            <a:chOff x="1608303" y="2147321"/>
            <a:chExt cx="1085217" cy="601286"/>
          </a:xfrm>
          <a:solidFill>
            <a:srgbClr val="FFFFFF"/>
          </a:solidFill>
        </p:grpSpPr>
        <p:sp>
          <p:nvSpPr>
            <p:cNvPr id="36" name="Halbbogen 35">
              <a:extLst>
                <a:ext uri="{FF2B5EF4-FFF2-40B4-BE49-F238E27FC236}">
                  <a16:creationId xmlns:a16="http://schemas.microsoft.com/office/drawing/2014/main" id="{ED426105-FCAC-8763-B460-7902AD197F13}"/>
                </a:ext>
              </a:extLst>
            </p:cNvPr>
            <p:cNvSpPr/>
            <p:nvPr/>
          </p:nvSpPr>
          <p:spPr>
            <a:xfrm rot="16200000">
              <a:off x="2086572" y="2141466"/>
              <a:ext cx="601094" cy="612803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  <p:sp>
          <p:nvSpPr>
            <p:cNvPr id="37" name="Halbbogen 36">
              <a:extLst>
                <a:ext uri="{FF2B5EF4-FFF2-40B4-BE49-F238E27FC236}">
                  <a16:creationId xmlns:a16="http://schemas.microsoft.com/office/drawing/2014/main" id="{50C4D37F-419A-D64E-DCF7-A4F32EF6D613}"/>
                </a:ext>
              </a:extLst>
            </p:cNvPr>
            <p:cNvSpPr/>
            <p:nvPr/>
          </p:nvSpPr>
          <p:spPr>
            <a:xfrm rot="5400000" flipH="1">
              <a:off x="1614158" y="2141661"/>
              <a:ext cx="601091" cy="612802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</p:grpSp>
      <p:sp>
        <p:nvSpPr>
          <p:cNvPr id="38" name="Rechteck: abgerundete Ecken 37">
            <a:extLst>
              <a:ext uri="{FF2B5EF4-FFF2-40B4-BE49-F238E27FC236}">
                <a16:creationId xmlns:a16="http://schemas.microsoft.com/office/drawing/2014/main" id="{6860CA31-E9D1-BB53-8BE1-D7D4D81D6898}"/>
              </a:ext>
            </a:extLst>
          </p:cNvPr>
          <p:cNvSpPr/>
          <p:nvPr/>
        </p:nvSpPr>
        <p:spPr>
          <a:xfrm>
            <a:off x="2141863" y="4017443"/>
            <a:ext cx="3904234" cy="559127"/>
          </a:xfrm>
          <a:prstGeom prst="roundRect">
            <a:avLst>
              <a:gd name="adj" fmla="val 25431"/>
            </a:avLst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400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nnovation und Wettbewerbsvorteil</a:t>
            </a:r>
            <a:endParaRPr lang="de-DE" sz="1400" kern="100" dirty="0">
              <a:solidFill>
                <a:schemeClr val="tx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hteck: abgerundete Ecken 38">
            <a:extLst>
              <a:ext uri="{FF2B5EF4-FFF2-40B4-BE49-F238E27FC236}">
                <a16:creationId xmlns:a16="http://schemas.microsoft.com/office/drawing/2014/main" id="{25BF31A8-E29B-9496-5C37-595B4B64BE10}"/>
              </a:ext>
            </a:extLst>
          </p:cNvPr>
          <p:cNvSpPr/>
          <p:nvPr/>
        </p:nvSpPr>
        <p:spPr>
          <a:xfrm>
            <a:off x="2126566" y="2904169"/>
            <a:ext cx="1859286" cy="813020"/>
          </a:xfrm>
          <a:prstGeom prst="roundRect">
            <a:avLst>
              <a:gd name="adj" fmla="val 20049"/>
            </a:avLst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400" kern="10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ffizienz und Kostensenkung</a:t>
            </a:r>
            <a:endParaRPr lang="de-DE" sz="1400" kern="100" dirty="0">
              <a:solidFill>
                <a:schemeClr val="tx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Rechteck: abgerundete Ecken 39">
            <a:extLst>
              <a:ext uri="{FF2B5EF4-FFF2-40B4-BE49-F238E27FC236}">
                <a16:creationId xmlns:a16="http://schemas.microsoft.com/office/drawing/2014/main" id="{85678F09-88F3-A0DA-5FD5-FA4AC0A6745E}"/>
              </a:ext>
            </a:extLst>
          </p:cNvPr>
          <p:cNvSpPr/>
          <p:nvPr/>
        </p:nvSpPr>
        <p:spPr>
          <a:xfrm>
            <a:off x="4285751" y="2904169"/>
            <a:ext cx="1760346" cy="813020"/>
          </a:xfrm>
          <a:prstGeom prst="roundRect">
            <a:avLst>
              <a:gd name="adj" fmla="val 18868"/>
            </a:avLst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400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isikomanagement</a:t>
            </a:r>
            <a:endParaRPr lang="de-DE" sz="1400" kern="100" dirty="0">
              <a:solidFill>
                <a:schemeClr val="tx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Rechteck: abgerundete Ecken 40">
            <a:extLst>
              <a:ext uri="{FF2B5EF4-FFF2-40B4-BE49-F238E27FC236}">
                <a16:creationId xmlns:a16="http://schemas.microsoft.com/office/drawing/2014/main" id="{FD541AF1-475F-F7B3-FB43-90DEC38C8898}"/>
              </a:ext>
            </a:extLst>
          </p:cNvPr>
          <p:cNvSpPr/>
          <p:nvPr/>
        </p:nvSpPr>
        <p:spPr>
          <a:xfrm>
            <a:off x="2141863" y="5990866"/>
            <a:ext cx="3904234" cy="559127"/>
          </a:xfrm>
          <a:prstGeom prst="roundRect">
            <a:avLst>
              <a:gd name="adj" fmla="val 24653"/>
            </a:avLst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400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itarbeitergewinnung und -bindung</a:t>
            </a:r>
            <a:endParaRPr lang="de-DE" sz="1400" kern="100" dirty="0">
              <a:solidFill>
                <a:schemeClr val="tx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Rechteck: abgerundete Ecken 41">
            <a:extLst>
              <a:ext uri="{FF2B5EF4-FFF2-40B4-BE49-F238E27FC236}">
                <a16:creationId xmlns:a16="http://schemas.microsoft.com/office/drawing/2014/main" id="{24F2D5CD-C2E8-F3C6-F789-634CFD8A8707}"/>
              </a:ext>
            </a:extLst>
          </p:cNvPr>
          <p:cNvSpPr/>
          <p:nvPr/>
        </p:nvSpPr>
        <p:spPr>
          <a:xfrm>
            <a:off x="2126565" y="4872413"/>
            <a:ext cx="1859286" cy="813020"/>
          </a:xfrm>
          <a:prstGeom prst="roundRect">
            <a:avLst>
              <a:gd name="adj" fmla="val 22699"/>
            </a:avLst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400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Zugang zu Kapital</a:t>
            </a:r>
            <a:endParaRPr lang="de-DE" sz="1400" kern="100" dirty="0">
              <a:solidFill>
                <a:schemeClr val="tx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1DFEC603-4D15-F7A4-C062-177E8B52F292}"/>
              </a:ext>
            </a:extLst>
          </p:cNvPr>
          <p:cNvSpPr/>
          <p:nvPr/>
        </p:nvSpPr>
        <p:spPr>
          <a:xfrm>
            <a:off x="4287868" y="4878276"/>
            <a:ext cx="1758229" cy="813020"/>
          </a:xfrm>
          <a:prstGeom prst="roundRect">
            <a:avLst>
              <a:gd name="adj" fmla="val 21767"/>
            </a:avLst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1400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putation und Markenwert</a:t>
            </a:r>
            <a:endParaRPr lang="de-DE" sz="1400" kern="100" dirty="0">
              <a:solidFill>
                <a:schemeClr val="tx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DBDE962E-1F84-EE4B-8EDA-F0AF0D171970}"/>
              </a:ext>
            </a:extLst>
          </p:cNvPr>
          <p:cNvGrpSpPr/>
          <p:nvPr/>
        </p:nvGrpSpPr>
        <p:grpSpPr>
          <a:xfrm rot="16200000">
            <a:off x="3594115" y="3012272"/>
            <a:ext cx="1085218" cy="601289"/>
            <a:chOff x="446212" y="-1405423"/>
            <a:chExt cx="1293207" cy="750949"/>
          </a:xfrm>
          <a:solidFill>
            <a:srgbClr val="FFFFFF"/>
          </a:solidFill>
        </p:grpSpPr>
        <p:sp>
          <p:nvSpPr>
            <p:cNvPr id="51" name="Halbbogen 50">
              <a:extLst>
                <a:ext uri="{FF2B5EF4-FFF2-40B4-BE49-F238E27FC236}">
                  <a16:creationId xmlns:a16="http://schemas.microsoft.com/office/drawing/2014/main" id="{5F9BE304-90AD-34D9-85AF-F6A8CEB6A340}"/>
                </a:ext>
              </a:extLst>
            </p:cNvPr>
            <p:cNvSpPr/>
            <p:nvPr/>
          </p:nvSpPr>
          <p:spPr>
            <a:xfrm rot="16200000">
              <a:off x="998940" y="-1395194"/>
              <a:ext cx="750707" cy="730250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  <p:sp>
          <p:nvSpPr>
            <p:cNvPr id="52" name="Halbbogen 51">
              <a:extLst>
                <a:ext uri="{FF2B5EF4-FFF2-40B4-BE49-F238E27FC236}">
                  <a16:creationId xmlns:a16="http://schemas.microsoft.com/office/drawing/2014/main" id="{85389729-5D49-7E80-B049-2CC7183355AC}"/>
                </a:ext>
              </a:extLst>
            </p:cNvPr>
            <p:cNvSpPr/>
            <p:nvPr/>
          </p:nvSpPr>
          <p:spPr>
            <a:xfrm rot="5400000" flipH="1">
              <a:off x="435985" y="-1394951"/>
              <a:ext cx="750704" cy="730249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B86CA970-6FDA-CE2B-57FE-3DD4F31A771A}"/>
              </a:ext>
            </a:extLst>
          </p:cNvPr>
          <p:cNvGrpSpPr/>
          <p:nvPr/>
        </p:nvGrpSpPr>
        <p:grpSpPr>
          <a:xfrm rot="16200000">
            <a:off x="3592208" y="4992565"/>
            <a:ext cx="1085218" cy="601289"/>
            <a:chOff x="446212" y="-1405423"/>
            <a:chExt cx="1293207" cy="750949"/>
          </a:xfrm>
          <a:solidFill>
            <a:srgbClr val="FFFFFF"/>
          </a:solidFill>
        </p:grpSpPr>
        <p:sp>
          <p:nvSpPr>
            <p:cNvPr id="54" name="Halbbogen 53">
              <a:extLst>
                <a:ext uri="{FF2B5EF4-FFF2-40B4-BE49-F238E27FC236}">
                  <a16:creationId xmlns:a16="http://schemas.microsoft.com/office/drawing/2014/main" id="{61B5CEC9-9C91-D773-62FD-1EC1FADC0EBC}"/>
                </a:ext>
              </a:extLst>
            </p:cNvPr>
            <p:cNvSpPr/>
            <p:nvPr/>
          </p:nvSpPr>
          <p:spPr>
            <a:xfrm rot="16200000">
              <a:off x="998940" y="-1395194"/>
              <a:ext cx="750707" cy="730250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  <p:sp>
          <p:nvSpPr>
            <p:cNvPr id="55" name="Halbbogen 54">
              <a:extLst>
                <a:ext uri="{FF2B5EF4-FFF2-40B4-BE49-F238E27FC236}">
                  <a16:creationId xmlns:a16="http://schemas.microsoft.com/office/drawing/2014/main" id="{FC14740C-85EF-A3D2-04C0-1B854314DD5E}"/>
                </a:ext>
              </a:extLst>
            </p:cNvPr>
            <p:cNvSpPr/>
            <p:nvPr/>
          </p:nvSpPr>
          <p:spPr>
            <a:xfrm rot="5400000" flipH="1">
              <a:off x="435985" y="-1394951"/>
              <a:ext cx="750704" cy="730249"/>
            </a:xfrm>
            <a:prstGeom prst="blockArc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54182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D8109A1-53A9-4C38-D629-D6CC4B27BC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232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1" progId="TCLayout.ActiveDocument.1">
                  <p:embed/>
                </p:oleObj>
              </mc:Choice>
              <mc:Fallback>
                <p:oleObj name="think-cell Folie" r:id="rId4" imgW="473" imgH="47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8109A1-53A9-4C38-D629-D6CC4B27BC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A7309943-8EC9-4B4B-E2E3-920F4E07FFA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500"/>
                    </a14:imgEffect>
                    <a14:imgEffect>
                      <a14:brightnessContrast bright="3000" contrast="14000"/>
                    </a14:imgEffect>
                  </a14:imgLayer>
                </a14:imgProps>
              </a:ext>
            </a:extLst>
          </a:blip>
          <a:srcRect l="549" t="448" r="450" b="2089"/>
          <a:stretch/>
        </p:blipFill>
        <p:spPr>
          <a:xfrm>
            <a:off x="8958259" y="435769"/>
            <a:ext cx="2894695" cy="160734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51005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9BF068-77BA-BC65-3BEB-D1F7EC1076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CA75BBE-32C9-CA6C-10D4-1B9F2D253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85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A75BBE-32C9-CA6C-10D4-1B9F2D253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FB94ADF7-2A94-D645-A42C-035BA36FCBAA}"/>
              </a:ext>
            </a:extLst>
          </p:cNvPr>
          <p:cNvSpPr txBox="1"/>
          <p:nvPr/>
        </p:nvSpPr>
        <p:spPr>
          <a:xfrm>
            <a:off x="5443918" y="622151"/>
            <a:ext cx="57619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G – </a:t>
            </a:r>
            <a:r>
              <a:rPr lang="de-DE" sz="2000" b="1" kern="100" dirty="0" err="1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ogether</a:t>
            </a:r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kern="100" dirty="0" err="1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e</a:t>
            </a:r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kern="100" dirty="0" err="1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an</a:t>
            </a:r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!  </a:t>
            </a:r>
            <a:endParaRPr lang="de-DE" sz="2000" b="1" kern="100" dirty="0">
              <a:solidFill>
                <a:srgbClr val="395A85"/>
              </a:solidFill>
              <a:effectLst/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sz="2000" b="1" dirty="0">
              <a:solidFill>
                <a:srgbClr val="395A85"/>
              </a:solidFill>
              <a:latin typeface="Aptos Display" panose="020B00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B62ED78-9C5F-2CB2-FC0F-F6AC9B4479F6}"/>
              </a:ext>
            </a:extLst>
          </p:cNvPr>
          <p:cNvSpPr txBox="1"/>
          <p:nvPr/>
        </p:nvSpPr>
        <p:spPr>
          <a:xfrm>
            <a:off x="5443918" y="1330037"/>
            <a:ext cx="6097772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tandardisierung</a:t>
            </a:r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de-DE" sz="1600" b="1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gitalisierung</a:t>
            </a:r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und </a:t>
            </a:r>
            <a:r>
              <a:rPr lang="de-DE" sz="1600" b="1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utomatisierung</a:t>
            </a:r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ilden die Grundlage für ein nachhaltiges Geschäftsergebnis. Gemeinsam liefern </a:t>
            </a:r>
            <a:r>
              <a:rPr lang="de-DE" sz="1600" b="1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FOHRA und </a:t>
            </a:r>
            <a:r>
              <a:rPr lang="de-DE" sz="1600" b="1" kern="100" dirty="0" err="1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cconsis</a:t>
            </a:r>
            <a:r>
              <a:rPr lang="de-DE" sz="1600" b="1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ösungen für Industrie- und Gesundheitsorganisationen.</a:t>
            </a:r>
          </a:p>
          <a:p>
            <a:endParaRPr lang="de-DE" sz="1600" kern="100" dirty="0">
              <a:latin typeface="Aptos Display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1600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Mit unseren Prozessreifegradmodellen, einschließlich ESG-Nachhaltigkeitsberichterstattung, unterstützen wir Krankenhäuser und andere Branchen dabei, sich </a:t>
            </a:r>
            <a:r>
              <a:rPr lang="de-DE" sz="1600" b="1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wettbewerbsfähig</a:t>
            </a:r>
            <a:r>
              <a:rPr lang="de-DE" sz="1600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 und </a:t>
            </a:r>
            <a:r>
              <a:rPr lang="de-DE" sz="1600" b="1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kostenoptimiert</a:t>
            </a:r>
            <a:r>
              <a:rPr lang="de-DE" sz="1600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 zu positionieren – auch bei geringerem Personalaufwand.</a:t>
            </a:r>
          </a:p>
          <a:p>
            <a:r>
              <a:rPr lang="de-DE" sz="1600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Unser Health Check ermöglicht maßgeschneiderte Servicelösungen und ESG-Zertifizierungen für nachhaltiges Immobilienmanagement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56018726-305F-9B1F-DD32-0C6CE045119A}"/>
              </a:ext>
            </a:extLst>
          </p:cNvPr>
          <p:cNvCxnSpPr>
            <a:cxnSpLocks/>
          </p:cNvCxnSpPr>
          <p:nvPr/>
        </p:nvCxnSpPr>
        <p:spPr>
          <a:xfrm>
            <a:off x="5518698" y="1165002"/>
            <a:ext cx="5687181" cy="0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5EB63D9C-0416-55D2-A859-FC0C66CC3D0B}"/>
              </a:ext>
            </a:extLst>
          </p:cNvPr>
          <p:cNvGrpSpPr/>
          <p:nvPr/>
        </p:nvGrpSpPr>
        <p:grpSpPr>
          <a:xfrm>
            <a:off x="663611" y="873568"/>
            <a:ext cx="4073236" cy="5110864"/>
            <a:chOff x="682585" y="873568"/>
            <a:chExt cx="4073236" cy="5110864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7CC2102E-673E-1418-C33F-97B2D5F4F268}"/>
                </a:ext>
              </a:extLst>
            </p:cNvPr>
            <p:cNvGrpSpPr/>
            <p:nvPr/>
          </p:nvGrpSpPr>
          <p:grpSpPr>
            <a:xfrm>
              <a:off x="682585" y="873568"/>
              <a:ext cx="4073236" cy="5110864"/>
              <a:chOff x="688202" y="1138684"/>
              <a:chExt cx="4073236" cy="5110864"/>
            </a:xfrm>
          </p:grpSpPr>
          <p:sp>
            <p:nvSpPr>
              <p:cNvPr id="9" name="Rechteck: abgerundete Ecken 8">
                <a:extLst>
                  <a:ext uri="{FF2B5EF4-FFF2-40B4-BE49-F238E27FC236}">
                    <a16:creationId xmlns:a16="http://schemas.microsoft.com/office/drawing/2014/main" id="{463FE41E-51CB-583F-43FC-C1566321097F}"/>
                  </a:ext>
                </a:extLst>
              </p:cNvPr>
              <p:cNvSpPr/>
              <p:nvPr/>
            </p:nvSpPr>
            <p:spPr>
              <a:xfrm>
                <a:off x="688202" y="1138684"/>
                <a:ext cx="4073236" cy="3676998"/>
              </a:xfrm>
              <a:prstGeom prst="roundRect">
                <a:avLst>
                  <a:gd name="adj" fmla="val 13317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10" name="Rechteck: abgerundete Ecken 9">
                <a:extLst>
                  <a:ext uri="{FF2B5EF4-FFF2-40B4-BE49-F238E27FC236}">
                    <a16:creationId xmlns:a16="http://schemas.microsoft.com/office/drawing/2014/main" id="{019B3715-7BC9-8269-4238-B4A21665F33F}"/>
                  </a:ext>
                </a:extLst>
              </p:cNvPr>
              <p:cNvSpPr/>
              <p:nvPr/>
            </p:nvSpPr>
            <p:spPr>
              <a:xfrm>
                <a:off x="688202" y="5212607"/>
                <a:ext cx="4073236" cy="1036941"/>
              </a:xfrm>
              <a:prstGeom prst="roundRect">
                <a:avLst>
                  <a:gd name="adj" fmla="val 27870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b="1" dirty="0">
                    <a:solidFill>
                      <a:schemeClr val="tx1"/>
                    </a:solidFill>
                    <a:latin typeface="Aptos Display" panose="020B0004020202020204" pitchFamily="34" charset="0"/>
                  </a:rPr>
                  <a:t>E</a:t>
                </a:r>
                <a:r>
                  <a:rPr lang="de-DE" sz="1400" dirty="0">
                    <a:solidFill>
                      <a:schemeClr val="tx1"/>
                    </a:solidFill>
                    <a:latin typeface="Aptos Display" panose="020B0004020202020204" pitchFamily="34" charset="0"/>
                  </a:rPr>
                  <a:t>nvironmental</a:t>
                </a:r>
              </a:p>
              <a:p>
                <a:r>
                  <a:rPr lang="de-DE" sz="1400" b="1" dirty="0" err="1">
                    <a:solidFill>
                      <a:schemeClr val="tx1"/>
                    </a:solidFill>
                    <a:latin typeface="Aptos Display" panose="020B0004020202020204" pitchFamily="34" charset="0"/>
                  </a:rPr>
                  <a:t>S</a:t>
                </a:r>
                <a:r>
                  <a:rPr lang="de-DE" sz="1400" dirty="0" err="1">
                    <a:solidFill>
                      <a:schemeClr val="tx1"/>
                    </a:solidFill>
                    <a:latin typeface="Aptos Display" panose="020B0004020202020204" pitchFamily="34" charset="0"/>
                  </a:rPr>
                  <a:t>ocial</a:t>
                </a:r>
                <a:endParaRPr lang="de-DE" sz="1400" dirty="0">
                  <a:solidFill>
                    <a:schemeClr val="tx1"/>
                  </a:solidFill>
                  <a:latin typeface="Aptos Display" panose="020B0004020202020204" pitchFamily="34" charset="0"/>
                </a:endParaRPr>
              </a:p>
              <a:p>
                <a:r>
                  <a:rPr lang="de-DE" sz="1400" b="1" dirty="0" err="1">
                    <a:solidFill>
                      <a:schemeClr val="tx1"/>
                    </a:solidFill>
                    <a:latin typeface="Aptos Display" panose="020B0004020202020204" pitchFamily="34" charset="0"/>
                  </a:rPr>
                  <a:t>G</a:t>
                </a:r>
                <a:r>
                  <a:rPr lang="de-DE" sz="1400" dirty="0" err="1">
                    <a:solidFill>
                      <a:schemeClr val="tx1"/>
                    </a:solidFill>
                    <a:latin typeface="Aptos Display" panose="020B0004020202020204" pitchFamily="34" charset="0"/>
                  </a:rPr>
                  <a:t>overnance</a:t>
                </a:r>
                <a:endParaRPr lang="de-DE" sz="1400" dirty="0">
                  <a:solidFill>
                    <a:schemeClr val="tx1"/>
                  </a:solidFill>
                  <a:latin typeface="Aptos Display" panose="020B0004020202020204" pitchFamily="34" charset="0"/>
                </a:endParaRPr>
              </a:p>
            </p:txBody>
          </p:sp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7D88A65A-57BC-4AC7-53CA-5975E04B9A78}"/>
                  </a:ext>
                </a:extLst>
              </p:cNvPr>
              <p:cNvSpPr txBox="1"/>
              <p:nvPr/>
            </p:nvSpPr>
            <p:spPr>
              <a:xfrm>
                <a:off x="2682497" y="5361745"/>
                <a:ext cx="1983602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de-DE" sz="1400" dirty="0">
                    <a:latin typeface="Aptos Display" panose="020B0004020202020204" pitchFamily="34" charset="0"/>
                  </a:rPr>
                  <a:t>Umwelt</a:t>
                </a:r>
              </a:p>
              <a:p>
                <a:pPr algn="r"/>
                <a:r>
                  <a:rPr lang="de-DE" sz="1400" dirty="0">
                    <a:latin typeface="Aptos Display" panose="020B0004020202020204" pitchFamily="34" charset="0"/>
                  </a:rPr>
                  <a:t>Soziales</a:t>
                </a:r>
              </a:p>
              <a:p>
                <a:pPr algn="r"/>
                <a:r>
                  <a:rPr lang="de-DE" sz="1400" dirty="0">
                    <a:latin typeface="Aptos Display" panose="020B0004020202020204" pitchFamily="34" charset="0"/>
                  </a:rPr>
                  <a:t>Unternehmensführung</a:t>
                </a:r>
              </a:p>
            </p:txBody>
          </p:sp>
          <p:grpSp>
            <p:nvGrpSpPr>
              <p:cNvPr id="12" name="Gruppieren 11">
                <a:extLst>
                  <a:ext uri="{FF2B5EF4-FFF2-40B4-BE49-F238E27FC236}">
                    <a16:creationId xmlns:a16="http://schemas.microsoft.com/office/drawing/2014/main" id="{AA4E0107-6ED0-D377-0267-EA5DDD399F80}"/>
                  </a:ext>
                </a:extLst>
              </p:cNvPr>
              <p:cNvGrpSpPr/>
              <p:nvPr/>
            </p:nvGrpSpPr>
            <p:grpSpPr>
              <a:xfrm rot="10800000">
                <a:off x="1816334" y="4605963"/>
                <a:ext cx="1639197" cy="818482"/>
                <a:chOff x="-425661" y="454783"/>
                <a:chExt cx="1879664" cy="999216"/>
              </a:xfrm>
              <a:solidFill>
                <a:srgbClr val="FFFFFF"/>
              </a:solidFill>
            </p:grpSpPr>
            <p:sp>
              <p:nvSpPr>
                <p:cNvPr id="13" name="Halbbogen 12">
                  <a:extLst>
                    <a:ext uri="{FF2B5EF4-FFF2-40B4-BE49-F238E27FC236}">
                      <a16:creationId xmlns:a16="http://schemas.microsoft.com/office/drawing/2014/main" id="{4EB0E6A0-60E4-9FF4-ED92-0ECF8FB88FC5}"/>
                    </a:ext>
                  </a:extLst>
                </p:cNvPr>
                <p:cNvSpPr/>
                <p:nvPr/>
              </p:nvSpPr>
              <p:spPr>
                <a:xfrm rot="5400000">
                  <a:off x="-416712" y="445834"/>
                  <a:ext cx="995100" cy="1012997"/>
                </a:xfrm>
                <a:prstGeom prst="blockArc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" name="Halbbogen 13">
                  <a:extLst>
                    <a:ext uri="{FF2B5EF4-FFF2-40B4-BE49-F238E27FC236}">
                      <a16:creationId xmlns:a16="http://schemas.microsoft.com/office/drawing/2014/main" id="{70C815F9-091B-D114-A2F1-9902CE31AD1B}"/>
                    </a:ext>
                  </a:extLst>
                </p:cNvPr>
                <p:cNvSpPr/>
                <p:nvPr/>
              </p:nvSpPr>
              <p:spPr>
                <a:xfrm rot="16200000" flipH="1">
                  <a:off x="449954" y="449949"/>
                  <a:ext cx="995102" cy="1012997"/>
                </a:xfrm>
                <a:prstGeom prst="blockArc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</p:grpSp>
        <p:pic>
          <p:nvPicPr>
            <p:cNvPr id="16" name="Grafik 15" descr="Ein Bild, das Screenshot, Grafikdesign, Grafiken, Cartoon enthält.&#10;&#10;KI-generierte Inhalte können fehlerhaft sein.">
              <a:extLst>
                <a:ext uri="{FF2B5EF4-FFF2-40B4-BE49-F238E27FC236}">
                  <a16:creationId xmlns:a16="http://schemas.microsoft.com/office/drawing/2014/main" id="{B2D6854E-8AD7-69C2-0591-9A9D375E95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222"/>
            <a:stretch/>
          </p:blipFill>
          <p:spPr>
            <a:xfrm>
              <a:off x="870494" y="1079948"/>
              <a:ext cx="3612771" cy="31863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9323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3000" b="-2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C967A2E-DDA1-F941-6EB4-2BDDFC49D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E4C85F5-4D7A-5F4E-DAF4-680C91F440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C85F5-4D7A-5F4E-DAF4-680C91F44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feld 2">
            <a:extLst>
              <a:ext uri="{FF2B5EF4-FFF2-40B4-BE49-F238E27FC236}">
                <a16:creationId xmlns:a16="http://schemas.microsoft.com/office/drawing/2014/main" id="{14E341E3-3572-285E-604C-7EDDF7BF13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58141" y="583407"/>
            <a:ext cx="3050877" cy="771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0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Qualitative und quantitative Vorteile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4367AF9-EFF1-083D-15F1-76CF8728407C}"/>
              </a:ext>
            </a:extLst>
          </p:cNvPr>
          <p:cNvSpPr txBox="1"/>
          <p:nvPr/>
        </p:nvSpPr>
        <p:spPr>
          <a:xfrm>
            <a:off x="443375" y="2370816"/>
            <a:ext cx="57629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G-Einführung</a:t>
            </a:r>
            <a:endParaRPr lang="de-DE" sz="2000" b="1" dirty="0">
              <a:solidFill>
                <a:srgbClr val="395A85"/>
              </a:solidFill>
              <a:latin typeface="Aptos Display" panose="020B000402020202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8D959BD-8966-E358-5F91-BFBD368C8584}"/>
              </a:ext>
            </a:extLst>
          </p:cNvPr>
          <p:cNvSpPr txBox="1"/>
          <p:nvPr/>
        </p:nvSpPr>
        <p:spPr>
          <a:xfrm>
            <a:off x="443374" y="3078702"/>
            <a:ext cx="6710315" cy="280076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de-DE" sz="1600" kern="100" dirty="0">
                <a:latin typeface="Aptos Display"/>
                <a:cs typeface="Times New Roman"/>
              </a:rPr>
              <a:t>Die Einführung von ESG umfasst die Ableitung relevanter Kennzahlen unter Berücksichtigung rechtlicher Anforderungen als Grundlage für einen Nachhaltigkeits-Report. Eine CO₂-Bilanzanalyse liefert konkrete Handlungsempfehlungen.</a:t>
            </a:r>
          </a:p>
          <a:p>
            <a:r>
              <a:rPr lang="de-DE" sz="1600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Ein Management-Dashboard ermöglicht die transparente Nachverfolgung der ESG-Maßnahmen, optional kann der Reporting-Betrieb als ESG als Service übernommen werden.</a:t>
            </a:r>
          </a:p>
          <a:p>
            <a:r>
              <a:rPr lang="de-DE" sz="1600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Zudem fördern ESG-Strategien langfristige Mietverhältnisse, senken Betriebskosten durch energetische und organisatorische Optimierungen und verbessern Finanzierungskonditionen.</a:t>
            </a:r>
          </a:p>
          <a:p>
            <a:endParaRPr lang="de-DE" sz="1600" kern="100" dirty="0">
              <a:latin typeface="Aptos Display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F6882C1-32AE-ACC1-52AD-C6BE953580AB}"/>
              </a:ext>
            </a:extLst>
          </p:cNvPr>
          <p:cNvCxnSpPr>
            <a:cxnSpLocks/>
          </p:cNvCxnSpPr>
          <p:nvPr/>
        </p:nvCxnSpPr>
        <p:spPr>
          <a:xfrm>
            <a:off x="518155" y="2913667"/>
            <a:ext cx="5688153" cy="0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17101F63-EA7B-3791-3A52-ED6DF35EA43F}"/>
              </a:ext>
            </a:extLst>
          </p:cNvPr>
          <p:cNvGrpSpPr/>
          <p:nvPr/>
        </p:nvGrpSpPr>
        <p:grpSpPr>
          <a:xfrm>
            <a:off x="7816165" y="1489844"/>
            <a:ext cx="3919532" cy="3779685"/>
            <a:chOff x="2126565" y="2770308"/>
            <a:chExt cx="3919532" cy="3779685"/>
          </a:xfrm>
        </p:grpSpPr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C685E028-6768-7071-2D70-42890CAFA2F5}"/>
                </a:ext>
              </a:extLst>
            </p:cNvPr>
            <p:cNvGrpSpPr/>
            <p:nvPr/>
          </p:nvGrpSpPr>
          <p:grpSpPr>
            <a:xfrm>
              <a:off x="4592353" y="3568489"/>
              <a:ext cx="1085215" cy="601291"/>
              <a:chOff x="1610333" y="2983234"/>
              <a:chExt cx="1085215" cy="601291"/>
            </a:xfrm>
            <a:solidFill>
              <a:srgbClr val="FFFFFF"/>
            </a:solidFill>
          </p:grpSpPr>
          <p:sp>
            <p:nvSpPr>
              <p:cNvPr id="30" name="Halbbogen 29">
                <a:extLst>
                  <a:ext uri="{FF2B5EF4-FFF2-40B4-BE49-F238E27FC236}">
                    <a16:creationId xmlns:a16="http://schemas.microsoft.com/office/drawing/2014/main" id="{14A91DD0-1DA3-10BF-DC9B-A4A4F2C52A1C}"/>
                  </a:ext>
                </a:extLst>
              </p:cNvPr>
              <p:cNvSpPr/>
              <p:nvPr/>
            </p:nvSpPr>
            <p:spPr>
              <a:xfrm rot="16200000">
                <a:off x="2088599" y="2977380"/>
                <a:ext cx="601096" cy="612803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Halbbogen 30">
                <a:extLst>
                  <a:ext uri="{FF2B5EF4-FFF2-40B4-BE49-F238E27FC236}">
                    <a16:creationId xmlns:a16="http://schemas.microsoft.com/office/drawing/2014/main" id="{B2794865-3D80-3995-E85A-B4123F89D069}"/>
                  </a:ext>
                </a:extLst>
              </p:cNvPr>
              <p:cNvSpPr/>
              <p:nvPr/>
            </p:nvSpPr>
            <p:spPr>
              <a:xfrm rot="5400000" flipH="1">
                <a:off x="1616187" y="2977575"/>
                <a:ext cx="601096" cy="612803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D995CB3-B713-8292-C203-EE86260155DE}"/>
                </a:ext>
              </a:extLst>
            </p:cNvPr>
            <p:cNvGrpSpPr/>
            <p:nvPr/>
          </p:nvGrpSpPr>
          <p:grpSpPr>
            <a:xfrm>
              <a:off x="4640821" y="5535273"/>
              <a:ext cx="1085217" cy="601286"/>
              <a:chOff x="1608303" y="2147321"/>
              <a:chExt cx="1085217" cy="601286"/>
            </a:xfrm>
            <a:solidFill>
              <a:srgbClr val="FFFFFF"/>
            </a:solidFill>
          </p:grpSpPr>
          <p:sp>
            <p:nvSpPr>
              <p:cNvPr id="33" name="Halbbogen 32">
                <a:extLst>
                  <a:ext uri="{FF2B5EF4-FFF2-40B4-BE49-F238E27FC236}">
                    <a16:creationId xmlns:a16="http://schemas.microsoft.com/office/drawing/2014/main" id="{E0B93688-80B1-DD1E-0696-79B6E7A7576A}"/>
                  </a:ext>
                </a:extLst>
              </p:cNvPr>
              <p:cNvSpPr/>
              <p:nvPr/>
            </p:nvSpPr>
            <p:spPr>
              <a:xfrm rot="16200000">
                <a:off x="2086572" y="2141466"/>
                <a:ext cx="601094" cy="612803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Halbbogen 33">
                <a:extLst>
                  <a:ext uri="{FF2B5EF4-FFF2-40B4-BE49-F238E27FC236}">
                    <a16:creationId xmlns:a16="http://schemas.microsoft.com/office/drawing/2014/main" id="{44F5D984-FC16-44DD-D053-EEBA01285C47}"/>
                  </a:ext>
                </a:extLst>
              </p:cNvPr>
              <p:cNvSpPr/>
              <p:nvPr/>
            </p:nvSpPr>
            <p:spPr>
              <a:xfrm rot="5400000" flipH="1">
                <a:off x="1614158" y="2141661"/>
                <a:ext cx="601091" cy="612802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79E92B80-FA89-DB34-9FF3-A4234A28E2C8}"/>
                </a:ext>
              </a:extLst>
            </p:cNvPr>
            <p:cNvGrpSpPr/>
            <p:nvPr/>
          </p:nvGrpSpPr>
          <p:grpSpPr>
            <a:xfrm>
              <a:off x="2453507" y="4425967"/>
              <a:ext cx="1085217" cy="601286"/>
              <a:chOff x="1608303" y="2147321"/>
              <a:chExt cx="1085217" cy="601286"/>
            </a:xfrm>
            <a:solidFill>
              <a:srgbClr val="FFFFFF"/>
            </a:solidFill>
          </p:grpSpPr>
          <p:sp>
            <p:nvSpPr>
              <p:cNvPr id="36" name="Halbbogen 35">
                <a:extLst>
                  <a:ext uri="{FF2B5EF4-FFF2-40B4-BE49-F238E27FC236}">
                    <a16:creationId xmlns:a16="http://schemas.microsoft.com/office/drawing/2014/main" id="{2E3A8914-7813-17BC-B156-E7A90E5DE56F}"/>
                  </a:ext>
                </a:extLst>
              </p:cNvPr>
              <p:cNvSpPr/>
              <p:nvPr/>
            </p:nvSpPr>
            <p:spPr>
              <a:xfrm rot="16200000">
                <a:off x="2086572" y="2141466"/>
                <a:ext cx="601094" cy="612803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Halbbogen 36">
                <a:extLst>
                  <a:ext uri="{FF2B5EF4-FFF2-40B4-BE49-F238E27FC236}">
                    <a16:creationId xmlns:a16="http://schemas.microsoft.com/office/drawing/2014/main" id="{C346C768-CD9C-1703-0A97-BDEBF5D74497}"/>
                  </a:ext>
                </a:extLst>
              </p:cNvPr>
              <p:cNvSpPr/>
              <p:nvPr/>
            </p:nvSpPr>
            <p:spPr>
              <a:xfrm rot="5400000" flipH="1">
                <a:off x="1614158" y="2141661"/>
                <a:ext cx="601091" cy="612802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8" name="Rechteck: abgerundete Ecken 37">
              <a:extLst>
                <a:ext uri="{FF2B5EF4-FFF2-40B4-BE49-F238E27FC236}">
                  <a16:creationId xmlns:a16="http://schemas.microsoft.com/office/drawing/2014/main" id="{604D9426-A50B-B8CB-3B69-BE16A7772AAD}"/>
                </a:ext>
              </a:extLst>
            </p:cNvPr>
            <p:cNvSpPr/>
            <p:nvPr/>
          </p:nvSpPr>
          <p:spPr>
            <a:xfrm>
              <a:off x="2141863" y="4017443"/>
              <a:ext cx="3904234" cy="559127"/>
            </a:xfrm>
            <a:prstGeom prst="roundRect">
              <a:avLst>
                <a:gd name="adj" fmla="val 25431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Innovation und Wettbewerbsvorteil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9" name="Rechteck: abgerundete Ecken 38">
              <a:extLst>
                <a:ext uri="{FF2B5EF4-FFF2-40B4-BE49-F238E27FC236}">
                  <a16:creationId xmlns:a16="http://schemas.microsoft.com/office/drawing/2014/main" id="{3A541A65-A103-AFBA-F53B-5646F200F579}"/>
                </a:ext>
              </a:extLst>
            </p:cNvPr>
            <p:cNvSpPr/>
            <p:nvPr/>
          </p:nvSpPr>
          <p:spPr>
            <a:xfrm>
              <a:off x="2126566" y="2904169"/>
              <a:ext cx="1859286" cy="813020"/>
            </a:xfrm>
            <a:prstGeom prst="roundRect">
              <a:avLst>
                <a:gd name="adj" fmla="val 20049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Effizienz und Kostensenkung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Rechteck: abgerundete Ecken 39">
              <a:extLst>
                <a:ext uri="{FF2B5EF4-FFF2-40B4-BE49-F238E27FC236}">
                  <a16:creationId xmlns:a16="http://schemas.microsoft.com/office/drawing/2014/main" id="{9A15D7EE-D36B-C7BB-E882-82B80F1AD741}"/>
                </a:ext>
              </a:extLst>
            </p:cNvPr>
            <p:cNvSpPr/>
            <p:nvPr/>
          </p:nvSpPr>
          <p:spPr>
            <a:xfrm>
              <a:off x="4285751" y="2904169"/>
              <a:ext cx="1760346" cy="813020"/>
            </a:xfrm>
            <a:prstGeom prst="roundRect">
              <a:avLst>
                <a:gd name="adj" fmla="val 18868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Risikomanagement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Rechteck: abgerundete Ecken 40">
              <a:extLst>
                <a:ext uri="{FF2B5EF4-FFF2-40B4-BE49-F238E27FC236}">
                  <a16:creationId xmlns:a16="http://schemas.microsoft.com/office/drawing/2014/main" id="{6505E411-2243-0B54-C6AE-8B2C69D387D0}"/>
                </a:ext>
              </a:extLst>
            </p:cNvPr>
            <p:cNvSpPr/>
            <p:nvPr/>
          </p:nvSpPr>
          <p:spPr>
            <a:xfrm>
              <a:off x="2141863" y="5990866"/>
              <a:ext cx="3904234" cy="559127"/>
            </a:xfrm>
            <a:prstGeom prst="roundRect">
              <a:avLst>
                <a:gd name="adj" fmla="val 24653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Mitarbeitergewinnung und -bindung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Rechteck: abgerundete Ecken 41">
              <a:extLst>
                <a:ext uri="{FF2B5EF4-FFF2-40B4-BE49-F238E27FC236}">
                  <a16:creationId xmlns:a16="http://schemas.microsoft.com/office/drawing/2014/main" id="{0FCA5455-E039-0721-4471-D21206269C88}"/>
                </a:ext>
              </a:extLst>
            </p:cNvPr>
            <p:cNvSpPr/>
            <p:nvPr/>
          </p:nvSpPr>
          <p:spPr>
            <a:xfrm>
              <a:off x="2126565" y="4872413"/>
              <a:ext cx="1859286" cy="813020"/>
            </a:xfrm>
            <a:prstGeom prst="roundRect">
              <a:avLst>
                <a:gd name="adj" fmla="val 22699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Zugang zu Kapital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Rechteck: abgerundete Ecken 42">
              <a:extLst>
                <a:ext uri="{FF2B5EF4-FFF2-40B4-BE49-F238E27FC236}">
                  <a16:creationId xmlns:a16="http://schemas.microsoft.com/office/drawing/2014/main" id="{403C731D-5F58-E90B-7359-478472A9ABD2}"/>
                </a:ext>
              </a:extLst>
            </p:cNvPr>
            <p:cNvSpPr/>
            <p:nvPr/>
          </p:nvSpPr>
          <p:spPr>
            <a:xfrm>
              <a:off x="4287868" y="4878276"/>
              <a:ext cx="1758229" cy="813020"/>
            </a:xfrm>
            <a:prstGeom prst="roundRect">
              <a:avLst>
                <a:gd name="adj" fmla="val 21767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Reputation und Markenwert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DF41373E-8C3C-224B-5842-4D30C6290F1B}"/>
                </a:ext>
              </a:extLst>
            </p:cNvPr>
            <p:cNvGrpSpPr/>
            <p:nvPr/>
          </p:nvGrpSpPr>
          <p:grpSpPr>
            <a:xfrm rot="16200000">
              <a:off x="3594115" y="3012272"/>
              <a:ext cx="1085218" cy="601289"/>
              <a:chOff x="446212" y="-1405423"/>
              <a:chExt cx="1293207" cy="750949"/>
            </a:xfrm>
            <a:solidFill>
              <a:srgbClr val="FFFFFF"/>
            </a:solidFill>
          </p:grpSpPr>
          <p:sp>
            <p:nvSpPr>
              <p:cNvPr id="51" name="Halbbogen 50">
                <a:extLst>
                  <a:ext uri="{FF2B5EF4-FFF2-40B4-BE49-F238E27FC236}">
                    <a16:creationId xmlns:a16="http://schemas.microsoft.com/office/drawing/2014/main" id="{0541C888-9EA7-EB95-6877-FCDFC505DA71}"/>
                  </a:ext>
                </a:extLst>
              </p:cNvPr>
              <p:cNvSpPr/>
              <p:nvPr/>
            </p:nvSpPr>
            <p:spPr>
              <a:xfrm rot="16200000">
                <a:off x="998940" y="-1395194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Halbbogen 51">
                <a:extLst>
                  <a:ext uri="{FF2B5EF4-FFF2-40B4-BE49-F238E27FC236}">
                    <a16:creationId xmlns:a16="http://schemas.microsoft.com/office/drawing/2014/main" id="{FA9CADE7-BAFA-6E42-A712-171955AD0C1D}"/>
                  </a:ext>
                </a:extLst>
              </p:cNvPr>
              <p:cNvSpPr/>
              <p:nvPr/>
            </p:nvSpPr>
            <p:spPr>
              <a:xfrm rot="5400000" flipH="1">
                <a:off x="435985" y="-1394951"/>
                <a:ext cx="750704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00DEEC80-5352-6DC1-7292-432B3E774C61}"/>
                </a:ext>
              </a:extLst>
            </p:cNvPr>
            <p:cNvGrpSpPr/>
            <p:nvPr/>
          </p:nvGrpSpPr>
          <p:grpSpPr>
            <a:xfrm rot="16200000">
              <a:off x="3592208" y="4992565"/>
              <a:ext cx="1085218" cy="601289"/>
              <a:chOff x="446212" y="-1405423"/>
              <a:chExt cx="1293207" cy="750949"/>
            </a:xfrm>
            <a:solidFill>
              <a:srgbClr val="FFFFFF"/>
            </a:solidFill>
          </p:grpSpPr>
          <p:sp>
            <p:nvSpPr>
              <p:cNvPr id="54" name="Halbbogen 53">
                <a:extLst>
                  <a:ext uri="{FF2B5EF4-FFF2-40B4-BE49-F238E27FC236}">
                    <a16:creationId xmlns:a16="http://schemas.microsoft.com/office/drawing/2014/main" id="{ABE165B1-7CCD-08B7-0D77-D319671C7714}"/>
                  </a:ext>
                </a:extLst>
              </p:cNvPr>
              <p:cNvSpPr/>
              <p:nvPr/>
            </p:nvSpPr>
            <p:spPr>
              <a:xfrm rot="16200000">
                <a:off x="998940" y="-1395194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Halbbogen 54">
                <a:extLst>
                  <a:ext uri="{FF2B5EF4-FFF2-40B4-BE49-F238E27FC236}">
                    <a16:creationId xmlns:a16="http://schemas.microsoft.com/office/drawing/2014/main" id="{F5A4B048-D288-B963-1994-C3AE09BC0DFD}"/>
                  </a:ext>
                </a:extLst>
              </p:cNvPr>
              <p:cNvSpPr/>
              <p:nvPr/>
            </p:nvSpPr>
            <p:spPr>
              <a:xfrm rot="5400000" flipH="1">
                <a:off x="435985" y="-1394951"/>
                <a:ext cx="750704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5054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9F3DEFE-F167-91C0-916B-2955B42F46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0ED178-B16C-8166-6F41-F618E73EDA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0ED178-B16C-8166-6F41-F618E73EDA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79A3975C-26FA-F6B3-5E5E-80F507D8FA5A}"/>
              </a:ext>
            </a:extLst>
          </p:cNvPr>
          <p:cNvGrpSpPr/>
          <p:nvPr/>
        </p:nvGrpSpPr>
        <p:grpSpPr>
          <a:xfrm>
            <a:off x="1375610" y="437956"/>
            <a:ext cx="9440779" cy="5023730"/>
            <a:chOff x="1141281" y="400885"/>
            <a:chExt cx="9440779" cy="5023730"/>
          </a:xfrm>
        </p:grpSpPr>
        <p:sp>
          <p:nvSpPr>
            <p:cNvPr id="2" name="Rechteck: abgerundete Ecken 1">
              <a:extLst>
                <a:ext uri="{FF2B5EF4-FFF2-40B4-BE49-F238E27FC236}">
                  <a16:creationId xmlns:a16="http://schemas.microsoft.com/office/drawing/2014/main" id="{0D826063-78F1-14FC-9450-4F217729C096}"/>
                </a:ext>
              </a:extLst>
            </p:cNvPr>
            <p:cNvSpPr/>
            <p:nvPr/>
          </p:nvSpPr>
          <p:spPr>
            <a:xfrm>
              <a:off x="1141281" y="1553792"/>
              <a:ext cx="4386370" cy="3870823"/>
            </a:xfrm>
            <a:prstGeom prst="roundRect">
              <a:avLst>
                <a:gd name="adj" fmla="val 14703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bg1">
                    <a:lumMod val="10000"/>
                  </a:schemeClr>
                </a:buClr>
              </a:pPr>
              <a:r>
                <a:rPr lang="de-DE" sz="1600" dirty="0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Als unabhängiges Institut analysiert IFOHRA Prozesse und entwickelt gemeinsam mit Kunden maßgeschneiderte, business-</a:t>
              </a:r>
              <a:r>
                <a:rPr lang="de-DE" sz="1600" dirty="0" err="1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case</a:t>
              </a:r>
              <a:r>
                <a:rPr lang="de-DE" sz="1600" dirty="0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-basierte Lösungen. Mit interdisziplinärer Expertise aus Industrie und Gesundheitswesen implementiert IFOHRA innovative, menschenzentrierte Ansätze zur Effizienzsteigerung im Gesundheitsmarkt. Das Team vereint langjährige Erfahrung in Maschinenbau, Robotik, Medizin, Gesundheitsökonomie und Pflege.</a:t>
              </a:r>
            </a:p>
          </p:txBody>
        </p:sp>
        <p:sp>
          <p:nvSpPr>
            <p:cNvPr id="3" name="Rechteck: abgerundete Ecken 2">
              <a:extLst>
                <a:ext uri="{FF2B5EF4-FFF2-40B4-BE49-F238E27FC236}">
                  <a16:creationId xmlns:a16="http://schemas.microsoft.com/office/drawing/2014/main" id="{389DF964-FFA7-A4A6-A223-3B6129973A74}"/>
                </a:ext>
              </a:extLst>
            </p:cNvPr>
            <p:cNvSpPr/>
            <p:nvPr/>
          </p:nvSpPr>
          <p:spPr>
            <a:xfrm>
              <a:off x="6096000" y="1553791"/>
              <a:ext cx="4486060" cy="3870823"/>
            </a:xfrm>
            <a:prstGeom prst="roundRect">
              <a:avLst>
                <a:gd name="adj" fmla="val 14048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 err="1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Acconsis</a:t>
              </a:r>
              <a:r>
                <a:rPr lang="de-DE" sz="1600" dirty="0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 bietet umfassende Dienstleistungen in Wirtschaftsprüfung, Steuer-, Rechts- und Finanzberatung und betreut Unternehmen jeder Größe mit fachlicher Expertise. Mit fundierter Erfahrung in der Erstellung von Nachhaltigkeitsberichten sowie akkreditierter ESG-Kompetenz (DGNB ESG-Manager) optimiert </a:t>
              </a:r>
              <a:r>
                <a:rPr lang="de-DE" sz="1600" dirty="0" err="1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Acconsis</a:t>
              </a:r>
              <a:r>
                <a:rPr lang="de-DE" sz="1600" dirty="0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 Bestandsgebäude nach ESG-Kriterien und unterstützt ein nachhaltiges Immobilienmanagement</a:t>
              </a:r>
              <a:r>
                <a:rPr lang="de-DE" sz="1600" dirty="0"/>
                <a:t>.</a:t>
              </a:r>
              <a:endParaRPr lang="de-DE" sz="1600" dirty="0">
                <a:solidFill>
                  <a:schemeClr val="tx1"/>
                </a:solidFill>
                <a:latin typeface="Aptos Display" panose="020B0004020202020204" pitchFamily="34" charset="0"/>
                <a:ea typeface="Roboto Light" panose="02000000000000000000" pitchFamily="2" charset="0"/>
                <a:cs typeface="Roboto Light" panose="02000000000000000000" pitchFamily="2" charset="0"/>
              </a:endParaRPr>
            </a:p>
          </p:txBody>
        </p:sp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BBA7BA72-5CE2-EF21-57CD-3FEC6CA418B3}"/>
                </a:ext>
              </a:extLst>
            </p:cNvPr>
            <p:cNvSpPr/>
            <p:nvPr/>
          </p:nvSpPr>
          <p:spPr>
            <a:xfrm>
              <a:off x="2108677" y="405330"/>
              <a:ext cx="2451577" cy="735645"/>
            </a:xfrm>
            <a:prstGeom prst="roundRect">
              <a:avLst>
                <a:gd name="adj" fmla="val 40928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IFOHRA</a:t>
              </a:r>
            </a:p>
          </p:txBody>
        </p:sp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EDE7F2F1-28D0-7F5C-0469-0631617D976C}"/>
                </a:ext>
              </a:extLst>
            </p:cNvPr>
            <p:cNvSpPr/>
            <p:nvPr/>
          </p:nvSpPr>
          <p:spPr>
            <a:xfrm>
              <a:off x="7113241" y="400885"/>
              <a:ext cx="2451577" cy="735645"/>
            </a:xfrm>
            <a:prstGeom prst="roundRect">
              <a:avLst>
                <a:gd name="adj" fmla="val 40928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>
                  <a:solidFill>
                    <a:sysClr val="windowText" lastClr="000000"/>
                  </a:solidFill>
                  <a:latin typeface="Aptos Display" panose="020B0004020202020204" pitchFamily="34" charset="0"/>
                </a:rPr>
                <a:t>Acconsis</a:t>
              </a:r>
              <a:endParaRPr lang="de-DE" dirty="0">
                <a:solidFill>
                  <a:sysClr val="windowText" lastClr="000000"/>
                </a:solidFill>
                <a:latin typeface="Aptos Display" panose="020B0004020202020204" pitchFamily="34" charset="0"/>
              </a:endParaRP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22C5907E-5F68-FC83-BA28-FDDC6C11BE74}"/>
                </a:ext>
              </a:extLst>
            </p:cNvPr>
            <p:cNvGrpSpPr/>
            <p:nvPr/>
          </p:nvGrpSpPr>
          <p:grpSpPr>
            <a:xfrm rot="5400000">
              <a:off x="4640303" y="2861376"/>
              <a:ext cx="2357851" cy="1135248"/>
              <a:chOff x="-454781" y="454781"/>
              <a:chExt cx="1908784" cy="999218"/>
            </a:xfrm>
            <a:solidFill>
              <a:srgbClr val="FFFFFF"/>
            </a:solidFill>
          </p:grpSpPr>
          <p:sp>
            <p:nvSpPr>
              <p:cNvPr id="9" name="Halbbogen 8">
                <a:extLst>
                  <a:ext uri="{FF2B5EF4-FFF2-40B4-BE49-F238E27FC236}">
                    <a16:creationId xmlns:a16="http://schemas.microsoft.com/office/drawing/2014/main" id="{5CFCB2CC-1EA9-E060-E055-2CAA23972A7E}"/>
                  </a:ext>
                </a:extLst>
              </p:cNvPr>
              <p:cNvSpPr/>
              <p:nvPr/>
            </p:nvSpPr>
            <p:spPr>
              <a:xfrm rot="5400000">
                <a:off x="-445833" y="445833"/>
                <a:ext cx="995102" cy="1012997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" name="Halbbogen 9">
                <a:extLst>
                  <a:ext uri="{FF2B5EF4-FFF2-40B4-BE49-F238E27FC236}">
                    <a16:creationId xmlns:a16="http://schemas.microsoft.com/office/drawing/2014/main" id="{B6664F50-735F-C0F5-86C0-65DFE629CB2F}"/>
                  </a:ext>
                </a:extLst>
              </p:cNvPr>
              <p:cNvSpPr/>
              <p:nvPr/>
            </p:nvSpPr>
            <p:spPr>
              <a:xfrm rot="16200000" flipH="1">
                <a:off x="449954" y="449949"/>
                <a:ext cx="995102" cy="1012997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866D31F-BD4B-5EFA-EEDB-407034F9FA87}"/>
                </a:ext>
              </a:extLst>
            </p:cNvPr>
            <p:cNvGrpSpPr/>
            <p:nvPr/>
          </p:nvGrpSpPr>
          <p:grpSpPr>
            <a:xfrm rot="10800000">
              <a:off x="7519430" y="938821"/>
              <a:ext cx="1639197" cy="818482"/>
              <a:chOff x="-425661" y="454783"/>
              <a:chExt cx="1879664" cy="999216"/>
            </a:xfrm>
            <a:solidFill>
              <a:srgbClr val="FFFFFF"/>
            </a:solidFill>
          </p:grpSpPr>
          <p:sp>
            <p:nvSpPr>
              <p:cNvPr id="15" name="Halbbogen 14">
                <a:extLst>
                  <a:ext uri="{FF2B5EF4-FFF2-40B4-BE49-F238E27FC236}">
                    <a16:creationId xmlns:a16="http://schemas.microsoft.com/office/drawing/2014/main" id="{17E52AAD-9D5C-8133-0797-2A6DB3A63E8B}"/>
                  </a:ext>
                </a:extLst>
              </p:cNvPr>
              <p:cNvSpPr/>
              <p:nvPr/>
            </p:nvSpPr>
            <p:spPr>
              <a:xfrm rot="5400000">
                <a:off x="-416712" y="445834"/>
                <a:ext cx="995100" cy="1012997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" name="Halbbogen 15">
                <a:extLst>
                  <a:ext uri="{FF2B5EF4-FFF2-40B4-BE49-F238E27FC236}">
                    <a16:creationId xmlns:a16="http://schemas.microsoft.com/office/drawing/2014/main" id="{0AF0EFF1-605A-4B9B-66A0-DB9F3D02B45D}"/>
                  </a:ext>
                </a:extLst>
              </p:cNvPr>
              <p:cNvSpPr/>
              <p:nvPr/>
            </p:nvSpPr>
            <p:spPr>
              <a:xfrm rot="16200000" flipH="1">
                <a:off x="449954" y="449949"/>
                <a:ext cx="995102" cy="1012997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F72FB28D-0C7F-A640-A9F8-DB5E534A3700}"/>
                </a:ext>
              </a:extLst>
            </p:cNvPr>
            <p:cNvGrpSpPr/>
            <p:nvPr/>
          </p:nvGrpSpPr>
          <p:grpSpPr>
            <a:xfrm rot="10800000">
              <a:off x="2514866" y="938821"/>
              <a:ext cx="1639197" cy="818482"/>
              <a:chOff x="-425661" y="454783"/>
              <a:chExt cx="1879664" cy="999216"/>
            </a:xfrm>
            <a:solidFill>
              <a:srgbClr val="FFFFFF"/>
            </a:solidFill>
          </p:grpSpPr>
          <p:sp>
            <p:nvSpPr>
              <p:cNvPr id="18" name="Halbbogen 17">
                <a:extLst>
                  <a:ext uri="{FF2B5EF4-FFF2-40B4-BE49-F238E27FC236}">
                    <a16:creationId xmlns:a16="http://schemas.microsoft.com/office/drawing/2014/main" id="{84F38CC5-285F-3E9D-6DD3-3BD21DF48D46}"/>
                  </a:ext>
                </a:extLst>
              </p:cNvPr>
              <p:cNvSpPr/>
              <p:nvPr/>
            </p:nvSpPr>
            <p:spPr>
              <a:xfrm rot="5400000">
                <a:off x="-416712" y="445834"/>
                <a:ext cx="995100" cy="1012997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Halbbogen 18">
                <a:extLst>
                  <a:ext uri="{FF2B5EF4-FFF2-40B4-BE49-F238E27FC236}">
                    <a16:creationId xmlns:a16="http://schemas.microsoft.com/office/drawing/2014/main" id="{C4800DFE-1A76-CE50-E738-705D000DEAF1}"/>
                  </a:ext>
                </a:extLst>
              </p:cNvPr>
              <p:cNvSpPr/>
              <p:nvPr/>
            </p:nvSpPr>
            <p:spPr>
              <a:xfrm rot="16200000" flipH="1">
                <a:off x="449954" y="449949"/>
                <a:ext cx="995102" cy="1012997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FD09084C-EBD7-F4B4-6C21-493371080A79}"/>
              </a:ext>
            </a:extLst>
          </p:cNvPr>
          <p:cNvSpPr/>
          <p:nvPr/>
        </p:nvSpPr>
        <p:spPr>
          <a:xfrm>
            <a:off x="1065158" y="5944488"/>
            <a:ext cx="10061684" cy="426958"/>
          </a:xfrm>
          <a:prstGeom prst="roundRect">
            <a:avLst>
              <a:gd name="adj" fmla="val 36461"/>
            </a:avLst>
          </a:prstGeom>
          <a:solidFill>
            <a:srgbClr val="537990">
              <a:alpha val="98000"/>
            </a:srgbClr>
          </a:solidFill>
          <a:ln w="381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Aptos Display" panose="020B0004020202020204" pitchFamily="34" charset="0"/>
              </a:rPr>
              <a:t>Gemeinsam realisieren wir die gesetzlichen Anforderungen im Rahmen der Nachhaltigkeitsberichtsberichterstattung!</a:t>
            </a:r>
          </a:p>
        </p:txBody>
      </p:sp>
    </p:spTree>
    <p:extLst>
      <p:ext uri="{BB962C8B-B14F-4D97-AF65-F5344CB8AC3E}">
        <p14:creationId xmlns:p14="http://schemas.microsoft.com/office/powerpoint/2010/main" val="2823377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3000" b="-2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8D40D75-5C13-2B09-7532-83B722BAE0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D69C7AC-B5F7-A351-F9FA-0550F51736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69C7AC-B5F7-A351-F9FA-0550F51736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BCC42FA2-143B-91AF-23AF-FFE9EBCB0D26}"/>
              </a:ext>
            </a:extLst>
          </p:cNvPr>
          <p:cNvSpPr txBox="1"/>
          <p:nvPr/>
        </p:nvSpPr>
        <p:spPr>
          <a:xfrm>
            <a:off x="566944" y="3140487"/>
            <a:ext cx="6464053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kern="100" dirty="0">
                <a:latin typeface="Aptos Display" panose="020B0004020202020204" pitchFamily="34" charset="0"/>
                <a:cs typeface="Times New Roman" panose="02020603050405020304" pitchFamily="18" charset="0"/>
              </a:rPr>
              <a:t>Seit 2025 ist ein funktionierendes ESG-System für Unternehmen verpflichtend. Besonders im Gesundheitswesen wird ESG zum entscheidenden Faktor, um im Spannungsfeld zwischen Rentabilität und nachhaltigem Management bestehen zu können. Für Krankenhaus-Geschäftsführungen ergeben sich zudem rechtliche Verpflichtungen aus § 43 GmbHG zur Haftung im Innen- und Außenverhältnis. Ein weiterer Indikator ist die Unternehmenssatzung: Enthält sie den Verweis auf die Regeln für große Kapitalgesellschaften, unterliegt das Unternehmen ebenfalls ab 2025 der ESG-Reporting-Pflicht. Eine frühzeitige Integration von ESG in die Unternehmensstrategie sichert daher nicht nur Compliance, sondern stärkt auch die langfristige Wettbewerbsfähigkeit.</a:t>
            </a:r>
          </a:p>
          <a:p>
            <a:endParaRPr lang="de-DE" sz="1600" kern="100" dirty="0">
              <a:latin typeface="Aptos Display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09A57F64-BD55-C9C3-2108-FF97FC5218F5}"/>
              </a:ext>
            </a:extLst>
          </p:cNvPr>
          <p:cNvCxnSpPr>
            <a:cxnSpLocks/>
          </p:cNvCxnSpPr>
          <p:nvPr/>
        </p:nvCxnSpPr>
        <p:spPr>
          <a:xfrm>
            <a:off x="641725" y="2950738"/>
            <a:ext cx="5688153" cy="0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Textfeld 2">
            <a:extLst>
              <a:ext uri="{FF2B5EF4-FFF2-40B4-BE49-F238E27FC236}">
                <a16:creationId xmlns:a16="http://schemas.microsoft.com/office/drawing/2014/main" id="{C105DDE4-386E-4686-9BCF-1B5E6DB1BF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3040" y="400868"/>
            <a:ext cx="3790436" cy="771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20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s Vorgehen in 3 Phasen: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000" b="1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nalyse, Erhebung, Integration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1FDC541-6594-0190-B860-44DF3B9EF455}"/>
              </a:ext>
            </a:extLst>
          </p:cNvPr>
          <p:cNvGrpSpPr/>
          <p:nvPr/>
        </p:nvGrpSpPr>
        <p:grpSpPr>
          <a:xfrm>
            <a:off x="8644022" y="1384644"/>
            <a:ext cx="2855179" cy="4971300"/>
            <a:chOff x="8644022" y="1322859"/>
            <a:chExt cx="2855179" cy="4971300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D95EF4BC-899F-6F5F-703C-D78C3264D900}"/>
                </a:ext>
              </a:extLst>
            </p:cNvPr>
            <p:cNvGrpSpPr/>
            <p:nvPr/>
          </p:nvGrpSpPr>
          <p:grpSpPr>
            <a:xfrm>
              <a:off x="9514134" y="1945227"/>
              <a:ext cx="1085219" cy="601287"/>
              <a:chOff x="433650" y="-1652305"/>
              <a:chExt cx="1293207" cy="750947"/>
            </a:xfrm>
            <a:solidFill>
              <a:srgbClr val="FFFFFF"/>
            </a:solidFill>
          </p:grpSpPr>
          <p:sp>
            <p:nvSpPr>
              <p:cNvPr id="29" name="Halbbogen 28">
                <a:extLst>
                  <a:ext uri="{FF2B5EF4-FFF2-40B4-BE49-F238E27FC236}">
                    <a16:creationId xmlns:a16="http://schemas.microsoft.com/office/drawing/2014/main" id="{C3E8D58A-21B7-AF2A-A9B0-B7DB03EEC0E4}"/>
                  </a:ext>
                </a:extLst>
              </p:cNvPr>
              <p:cNvSpPr/>
              <p:nvPr/>
            </p:nvSpPr>
            <p:spPr>
              <a:xfrm rot="16200000">
                <a:off x="986379" y="-1642077"/>
                <a:ext cx="750706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Halbbogen 29">
                <a:extLst>
                  <a:ext uri="{FF2B5EF4-FFF2-40B4-BE49-F238E27FC236}">
                    <a16:creationId xmlns:a16="http://schemas.microsoft.com/office/drawing/2014/main" id="{5D426000-E9CF-1953-B297-3EBC92A21F4F}"/>
                  </a:ext>
                </a:extLst>
              </p:cNvPr>
              <p:cNvSpPr/>
              <p:nvPr/>
            </p:nvSpPr>
            <p:spPr>
              <a:xfrm rot="5400000" flipH="1">
                <a:off x="423424" y="-1641834"/>
                <a:ext cx="750702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Rechteck: abgerundete Ecken 10">
              <a:extLst>
                <a:ext uri="{FF2B5EF4-FFF2-40B4-BE49-F238E27FC236}">
                  <a16:creationId xmlns:a16="http://schemas.microsoft.com/office/drawing/2014/main" id="{FB30F1D2-FB9B-F569-C23C-0B2263E33979}"/>
                </a:ext>
              </a:extLst>
            </p:cNvPr>
            <p:cNvSpPr/>
            <p:nvPr/>
          </p:nvSpPr>
          <p:spPr>
            <a:xfrm>
              <a:off x="8649731" y="1322859"/>
              <a:ext cx="2849470" cy="775901"/>
            </a:xfrm>
            <a:prstGeom prst="roundRect">
              <a:avLst>
                <a:gd name="adj" fmla="val 24630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bg1">
                      <a:lumMod val="10000"/>
                    </a:schemeClr>
                  </a:solidFill>
                  <a:latin typeface="Aptos Display" panose="020B0004020202020204" pitchFamily="34" charset="0"/>
                  <a:cs typeface="Times New Roman" panose="02020603050405020304" pitchFamily="18" charset="0"/>
                </a:rPr>
                <a:t>Zunächst wird eine Bestandsaufnahme durchgeführt, um den Status quo zu erfassen.</a:t>
              </a:r>
              <a:endParaRPr lang="de-DE" sz="1400" kern="100" dirty="0">
                <a:solidFill>
                  <a:schemeClr val="bg1">
                    <a:lumMod val="10000"/>
                  </a:schemeClr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5B0D5DAC-23E7-3E69-FBAF-9AC59FA5CC60}"/>
                </a:ext>
              </a:extLst>
            </p:cNvPr>
            <p:cNvGrpSpPr/>
            <p:nvPr/>
          </p:nvGrpSpPr>
          <p:grpSpPr>
            <a:xfrm>
              <a:off x="9516166" y="3497834"/>
              <a:ext cx="1085215" cy="601291"/>
              <a:chOff x="422293" y="-1656272"/>
              <a:chExt cx="1293202" cy="750951"/>
            </a:xfrm>
            <a:solidFill>
              <a:srgbClr val="FFFFFF"/>
            </a:solidFill>
          </p:grpSpPr>
          <p:sp>
            <p:nvSpPr>
              <p:cNvPr id="27" name="Halbbogen 26">
                <a:extLst>
                  <a:ext uri="{FF2B5EF4-FFF2-40B4-BE49-F238E27FC236}">
                    <a16:creationId xmlns:a16="http://schemas.microsoft.com/office/drawing/2014/main" id="{6EF3CF1A-D5C8-93E2-9655-DCB46B431BAA}"/>
                  </a:ext>
                </a:extLst>
              </p:cNvPr>
              <p:cNvSpPr/>
              <p:nvPr/>
            </p:nvSpPr>
            <p:spPr>
              <a:xfrm rot="16200000">
                <a:off x="975016" y="-1646043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Halbbogen 27">
                <a:extLst>
                  <a:ext uri="{FF2B5EF4-FFF2-40B4-BE49-F238E27FC236}">
                    <a16:creationId xmlns:a16="http://schemas.microsoft.com/office/drawing/2014/main" id="{EDCAE76C-9EB0-543F-9465-8046E8EC5CAD}"/>
                  </a:ext>
                </a:extLst>
              </p:cNvPr>
              <p:cNvSpPr/>
              <p:nvPr/>
            </p:nvSpPr>
            <p:spPr>
              <a:xfrm rot="5400000" flipH="1">
                <a:off x="412064" y="-1645799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59F9E969-4064-408B-93C1-F5331645B883}"/>
                </a:ext>
              </a:extLst>
            </p:cNvPr>
            <p:cNvGrpSpPr/>
            <p:nvPr/>
          </p:nvGrpSpPr>
          <p:grpSpPr>
            <a:xfrm>
              <a:off x="9530462" y="5042843"/>
              <a:ext cx="1085218" cy="601289"/>
              <a:chOff x="446212" y="-1405423"/>
              <a:chExt cx="1293207" cy="750949"/>
            </a:xfrm>
            <a:solidFill>
              <a:srgbClr val="FFFFFF"/>
            </a:solidFill>
          </p:grpSpPr>
          <p:sp>
            <p:nvSpPr>
              <p:cNvPr id="25" name="Halbbogen 24">
                <a:extLst>
                  <a:ext uri="{FF2B5EF4-FFF2-40B4-BE49-F238E27FC236}">
                    <a16:creationId xmlns:a16="http://schemas.microsoft.com/office/drawing/2014/main" id="{1B78E6C9-E637-3411-CC94-3A6AB971F96D}"/>
                  </a:ext>
                </a:extLst>
              </p:cNvPr>
              <p:cNvSpPr/>
              <p:nvPr/>
            </p:nvSpPr>
            <p:spPr>
              <a:xfrm rot="16200000">
                <a:off x="998940" y="-1395194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Halbbogen 25">
                <a:extLst>
                  <a:ext uri="{FF2B5EF4-FFF2-40B4-BE49-F238E27FC236}">
                    <a16:creationId xmlns:a16="http://schemas.microsoft.com/office/drawing/2014/main" id="{D031A8F9-DA3E-60F7-A1D3-F9C49F6A532E}"/>
                  </a:ext>
                </a:extLst>
              </p:cNvPr>
              <p:cNvSpPr/>
              <p:nvPr/>
            </p:nvSpPr>
            <p:spPr>
              <a:xfrm rot="5400000" flipH="1">
                <a:off x="435985" y="-1394951"/>
                <a:ext cx="750704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" name="Rechteck: abgerundete Ecken 14">
              <a:extLst>
                <a:ext uri="{FF2B5EF4-FFF2-40B4-BE49-F238E27FC236}">
                  <a16:creationId xmlns:a16="http://schemas.microsoft.com/office/drawing/2014/main" id="{474D9704-57DA-DEE1-5138-6A2136FBD56B}"/>
                </a:ext>
              </a:extLst>
            </p:cNvPr>
            <p:cNvSpPr/>
            <p:nvPr/>
          </p:nvSpPr>
          <p:spPr>
            <a:xfrm>
              <a:off x="8649731" y="2399208"/>
              <a:ext cx="2849470" cy="1251317"/>
            </a:xfrm>
            <a:prstGeom prst="roundRect">
              <a:avLst>
                <a:gd name="adj" fmla="val 20638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bg1">
                      <a:lumMod val="10000"/>
                    </a:schemeClr>
                  </a:solidFill>
                  <a:latin typeface="Aptos Display" panose="020B0004020202020204" pitchFamily="34" charset="0"/>
                  <a:cs typeface="Times New Roman" panose="02020603050405020304" pitchFamily="18" charset="0"/>
                </a:rPr>
                <a:t>In der anschließenden Erhebungsphase unterstützt die Wesentlichkeitsanalyse die gezielte Priorisierung relevanter Maßnahmen.</a:t>
              </a:r>
              <a:endParaRPr lang="de-DE" sz="1400" kern="100" dirty="0">
                <a:solidFill>
                  <a:schemeClr val="bg1">
                    <a:lumMod val="10000"/>
                  </a:schemeClr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F43C6AB6-B73B-BC7D-0ABF-A2902769CFAD}"/>
                </a:ext>
              </a:extLst>
            </p:cNvPr>
            <p:cNvSpPr/>
            <p:nvPr/>
          </p:nvSpPr>
          <p:spPr>
            <a:xfrm>
              <a:off x="8649731" y="3943419"/>
              <a:ext cx="2849470" cy="1251317"/>
            </a:xfrm>
            <a:prstGeom prst="round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bg1">
                      <a:lumMod val="10000"/>
                    </a:schemeClr>
                  </a:solidFill>
                  <a:latin typeface="Aptos Display" panose="020B0004020202020204" pitchFamily="34" charset="0"/>
                  <a:cs typeface="Times New Roman" panose="02020603050405020304" pitchFamily="18" charset="0"/>
                </a:rPr>
                <a:t>Abschließend erfolgt die strategische Verankerung der Nachhaltigkeit im Unternehmen, einschließlich der Berichterstattung.</a:t>
              </a:r>
              <a:endParaRPr lang="de-DE" sz="1400" kern="100" dirty="0">
                <a:solidFill>
                  <a:schemeClr val="bg1">
                    <a:lumMod val="10000"/>
                  </a:schemeClr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0EEE2C72-D84A-21A9-309E-F311C31499D6}"/>
                </a:ext>
              </a:extLst>
            </p:cNvPr>
            <p:cNvSpPr/>
            <p:nvPr/>
          </p:nvSpPr>
          <p:spPr>
            <a:xfrm>
              <a:off x="8644022" y="5489934"/>
              <a:ext cx="2849470" cy="804225"/>
            </a:xfrm>
            <a:prstGeom prst="roundRect">
              <a:avLst>
                <a:gd name="adj" fmla="val 25898"/>
              </a:avLst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kern="100" dirty="0">
                  <a:solidFill>
                    <a:schemeClr val="bg1">
                      <a:lumMod val="10000"/>
                    </a:schemeClr>
                  </a:solidFill>
                  <a:latin typeface="Aptos Display" panose="020B0004020202020204" pitchFamily="34" charset="0"/>
                  <a:cs typeface="Times New Roman" panose="02020603050405020304" pitchFamily="18" charset="0"/>
                </a:rPr>
                <a:t>IFOHRA und </a:t>
              </a:r>
              <a:r>
                <a:rPr lang="de-DE" sz="1400" kern="100" dirty="0" err="1">
                  <a:solidFill>
                    <a:schemeClr val="bg1">
                      <a:lumMod val="10000"/>
                    </a:schemeClr>
                  </a:solidFill>
                  <a:latin typeface="Aptos Display" panose="020B0004020202020204" pitchFamily="34" charset="0"/>
                  <a:cs typeface="Times New Roman" panose="02020603050405020304" pitchFamily="18" charset="0"/>
                </a:rPr>
                <a:t>Acconsis</a:t>
              </a:r>
              <a:r>
                <a:rPr lang="de-DE" sz="1400" kern="100" dirty="0">
                  <a:solidFill>
                    <a:schemeClr val="bg1">
                      <a:lumMod val="10000"/>
                    </a:schemeClr>
                  </a:solidFill>
                  <a:latin typeface="Aptos Display" panose="020B0004020202020204" pitchFamily="34" charset="0"/>
                  <a:cs typeface="Times New Roman" panose="02020603050405020304" pitchFamily="18" charset="0"/>
                </a:rPr>
                <a:t> begleiten den gesamten Prozess durch gezieltes Change-Management.</a:t>
              </a:r>
            </a:p>
          </p:txBody>
        </p:sp>
      </p:grpSp>
      <p:sp>
        <p:nvSpPr>
          <p:cNvPr id="32" name="Textfeld 31">
            <a:extLst>
              <a:ext uri="{FF2B5EF4-FFF2-40B4-BE49-F238E27FC236}">
                <a16:creationId xmlns:a16="http://schemas.microsoft.com/office/drawing/2014/main" id="{EDC964DE-CC2D-FF45-632E-3C509BC9CA3C}"/>
              </a:ext>
            </a:extLst>
          </p:cNvPr>
          <p:cNvSpPr txBox="1"/>
          <p:nvPr/>
        </p:nvSpPr>
        <p:spPr>
          <a:xfrm>
            <a:off x="604820" y="2460993"/>
            <a:ext cx="576196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G – Die Relevanz des Themas  </a:t>
            </a:r>
            <a:endParaRPr lang="de-DE" sz="2000" b="1" kern="100" dirty="0">
              <a:solidFill>
                <a:srgbClr val="395A85"/>
              </a:solidFill>
              <a:effectLst/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372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EF4233E-C507-E9B3-4D26-BBEFB8DB2B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FD13DB-6132-EB16-8834-48DBFCE54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FD13DB-6132-EB16-8834-48DBFCE54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2">
            <a:extLst>
              <a:ext uri="{FF2B5EF4-FFF2-40B4-BE49-F238E27FC236}">
                <a16:creationId xmlns:a16="http://schemas.microsoft.com/office/drawing/2014/main" id="{174717B9-21A4-641D-2EB7-FD5D90426F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4385" y="1130300"/>
            <a:ext cx="6431915" cy="358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b="1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ie IFOHRA GmbH </a:t>
            </a: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vereint die Kompetenzen aus Industrie und Gesundheitswesen, um innovative und menschenzentrierte Lösungen zur Effizienzsteigerung im Gesundheitsmarkt umzusetzen.</a:t>
            </a:r>
            <a:endParaRPr lang="de-DE" sz="1600" kern="100" dirty="0">
              <a:solidFill>
                <a:schemeClr val="tx2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ls Spin-off des Medical Valley verfügt IFOHRA über ein </a:t>
            </a:r>
            <a:r>
              <a:rPr lang="de-DE" sz="1600" b="1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ranchenübergreifendes Partnernetzwerk</a:t>
            </a: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, wie zum Beispiel der Ostbayerischen Technische Hochschule Amberg-Weiden, MSE-Solution </a:t>
            </a:r>
            <a:r>
              <a:rPr lang="de-DE" sz="1600" kern="100" dirty="0" err="1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ointOut</a:t>
            </a: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und andere.</a:t>
            </a:r>
            <a:endParaRPr lang="de-DE" sz="1600" kern="100" dirty="0">
              <a:solidFill>
                <a:schemeClr val="tx2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ir entwickeln auch langfristige Technologiepläne im Bereich der </a:t>
            </a:r>
            <a:r>
              <a:rPr lang="de-DE" sz="1600" b="1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5G-Infrastruktur</a:t>
            </a: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und der </a:t>
            </a:r>
            <a:r>
              <a:rPr lang="de-DE" sz="1600" b="1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igitalisierung</a:t>
            </a:r>
            <a:r>
              <a:rPr lang="de-DE" sz="1600" b="1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von klinischen Prozessen.</a:t>
            </a:r>
            <a:endParaRPr lang="de-DE" sz="1600" kern="100" dirty="0">
              <a:solidFill>
                <a:schemeClr val="tx2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as Medical Valley ist eines der dynamischsten Ökosysteme in der Gesundheitsbranche, sowohl auf </a:t>
            </a:r>
            <a:r>
              <a:rPr lang="de-DE" sz="1600" b="1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ationaler</a:t>
            </a: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als auch auf </a:t>
            </a:r>
            <a:r>
              <a:rPr lang="de-DE" sz="1600" b="1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nternationaler</a:t>
            </a:r>
            <a:r>
              <a:rPr lang="de-DE" sz="1600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de-DE" sz="1600" kern="100" dirty="0">
                <a:solidFill>
                  <a:schemeClr val="tx2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bene.</a:t>
            </a:r>
            <a:endParaRPr lang="de-DE" sz="1600" kern="100" dirty="0">
              <a:solidFill>
                <a:schemeClr val="tx2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solidFill>
                  <a:srgbClr val="0E284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endParaRPr lang="de-DE" sz="16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B029F589-318C-1B7A-A64A-FBD7587F505A}"/>
              </a:ext>
            </a:extLst>
          </p:cNvPr>
          <p:cNvCxnSpPr/>
          <p:nvPr/>
        </p:nvCxnSpPr>
        <p:spPr>
          <a:xfrm flipV="1">
            <a:off x="5874385" y="962818"/>
            <a:ext cx="5929630" cy="9525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" name="Textfeld 2">
            <a:extLst>
              <a:ext uri="{FF2B5EF4-FFF2-40B4-BE49-F238E27FC236}">
                <a16:creationId xmlns:a16="http://schemas.microsoft.com/office/drawing/2014/main" id="{E82A7423-783B-A9A5-5355-3BA7D620AC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4385" y="397272"/>
            <a:ext cx="4460875" cy="486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b="1" kern="100" dirty="0"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hr Ansprechpartner</a:t>
            </a:r>
            <a:endParaRPr lang="de-DE" sz="2400" kern="100" dirty="0">
              <a:solidFill>
                <a:srgbClr val="395A85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Grafik 5" descr="Ein Bild, das Text, Grafiken, Schrift, Grafikdesign enthält.&#10;&#10;Automatisch generierte Beschreibung">
            <a:extLst>
              <a:ext uri="{FF2B5EF4-FFF2-40B4-BE49-F238E27FC236}">
                <a16:creationId xmlns:a16="http://schemas.microsoft.com/office/drawing/2014/main" id="{07FDC3D3-2880-3230-6704-A31373D5AE3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87" y="3721100"/>
            <a:ext cx="1343025" cy="1343025"/>
          </a:xfrm>
          <a:prstGeom prst="rect">
            <a:avLst/>
          </a:prstGeom>
        </p:spPr>
      </p:pic>
      <p:sp>
        <p:nvSpPr>
          <p:cNvPr id="7" name="Textfeld 2">
            <a:extLst>
              <a:ext uri="{FF2B5EF4-FFF2-40B4-BE49-F238E27FC236}">
                <a16:creationId xmlns:a16="http://schemas.microsoft.com/office/drawing/2014/main" id="{F309BC4F-769A-6782-3B85-57C8999833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6387" y="5205413"/>
            <a:ext cx="2981325" cy="153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spcAft>
                <a:spcPts val="100"/>
              </a:spcAft>
            </a:pPr>
            <a:r>
              <a:rPr lang="de-DE" sz="1600" b="1" kern="100" dirty="0">
                <a:solidFill>
                  <a:srgbClr val="0E284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Kontakt</a:t>
            </a:r>
            <a:endParaRPr lang="de-DE" sz="900" b="1" kern="100" dirty="0">
              <a:solidFill>
                <a:srgbClr val="0E2841"/>
              </a:solidFill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00"/>
              </a:spcAft>
            </a:pPr>
            <a:endParaRPr lang="de-DE" sz="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100"/>
              </a:spcAft>
            </a:pPr>
            <a:r>
              <a:rPr lang="de-DE" sz="1600" kern="100" dirty="0">
                <a:solidFill>
                  <a:srgbClr val="0E284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FOHRA GmbH</a:t>
            </a:r>
            <a:endParaRPr lang="de-DE" sz="16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100"/>
              </a:spcAft>
            </a:pPr>
            <a:r>
              <a:rPr lang="de-DE" sz="1600" kern="100" dirty="0">
                <a:solidFill>
                  <a:srgbClr val="0E284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m Werkkanal 6, 96047 Bamberg</a:t>
            </a:r>
            <a:endParaRPr lang="de-DE" sz="16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100"/>
              </a:spcAft>
            </a:pPr>
            <a:r>
              <a:rPr lang="de-DE" sz="1600" kern="100" dirty="0">
                <a:solidFill>
                  <a:srgbClr val="0E284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+49-176-45838881</a:t>
            </a:r>
            <a:endParaRPr lang="de-DE" sz="16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100"/>
              </a:spcAft>
            </a:pPr>
            <a:r>
              <a:rPr lang="de-DE" sz="1600" kern="100" dirty="0">
                <a:solidFill>
                  <a:srgbClr val="0E284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ww.ifohra.de</a:t>
            </a:r>
            <a:endParaRPr lang="de-DE" sz="16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8216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3000" b="-2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5ED4D7E-CA77-E5E1-0999-9564481718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EB92380-AA34-98AA-E703-EB56FD7544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B92380-AA34-98AA-E703-EB56FD754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43851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3BAD6D5-2EFA-D2BF-F873-B8A18FE09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0D93CB6-55A2-7778-16B4-C64398CF7C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D93CB6-55A2-7778-16B4-C64398CF7C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8588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992AA"/>
            </a:gs>
            <a:gs pos="58000">
              <a:srgbClr val="B4C8D6"/>
            </a:gs>
            <a:gs pos="100000">
              <a:srgbClr val="ABD1DF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148D2F5-5229-1D1A-EA76-8BFFD41BAE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93A8E67-AF15-6CD5-AFEB-5BAF5FD068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3A8E67-AF15-6CD5-AFEB-5BAF5FD068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B0F4804-F056-3408-1DE8-03BC3304DFC1}"/>
              </a:ext>
            </a:extLst>
          </p:cNvPr>
          <p:cNvGrpSpPr/>
          <p:nvPr/>
        </p:nvGrpSpPr>
        <p:grpSpPr>
          <a:xfrm>
            <a:off x="733373" y="308855"/>
            <a:ext cx="5274082" cy="1915062"/>
            <a:chOff x="953303" y="380983"/>
            <a:chExt cx="5274082" cy="1915062"/>
          </a:xfrm>
          <a:solidFill>
            <a:srgbClr val="FFFFFF"/>
          </a:solidFill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BD279E5A-31A5-04B7-FF92-31D0D6CF3B88}"/>
                </a:ext>
              </a:extLst>
            </p:cNvPr>
            <p:cNvGrpSpPr/>
            <p:nvPr/>
          </p:nvGrpSpPr>
          <p:grpSpPr>
            <a:xfrm rot="16200000">
              <a:off x="4722104" y="779201"/>
              <a:ext cx="1085217" cy="603404"/>
              <a:chOff x="1555533" y="-2294769"/>
              <a:chExt cx="1085217" cy="603404"/>
            </a:xfrm>
            <a:grpFill/>
          </p:grpSpPr>
          <p:sp>
            <p:nvSpPr>
              <p:cNvPr id="9" name="Halbbogen 8">
                <a:extLst>
                  <a:ext uri="{FF2B5EF4-FFF2-40B4-BE49-F238E27FC236}">
                    <a16:creationId xmlns:a16="http://schemas.microsoft.com/office/drawing/2014/main" id="{EBBFB983-98BB-502C-D844-4D8A2B9AE082}"/>
                  </a:ext>
                </a:extLst>
              </p:cNvPr>
              <p:cNvSpPr/>
              <p:nvPr/>
            </p:nvSpPr>
            <p:spPr>
              <a:xfrm rot="16200000">
                <a:off x="2033802" y="-2300624"/>
                <a:ext cx="601094" cy="612803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Halbbogen 9">
                <a:extLst>
                  <a:ext uri="{FF2B5EF4-FFF2-40B4-BE49-F238E27FC236}">
                    <a16:creationId xmlns:a16="http://schemas.microsoft.com/office/drawing/2014/main" id="{556A81B2-FBAB-3D85-D37F-3DA30F04F080}"/>
                  </a:ext>
                </a:extLst>
              </p:cNvPr>
              <p:cNvSpPr/>
              <p:nvPr/>
            </p:nvSpPr>
            <p:spPr>
              <a:xfrm rot="5400000" flipH="1">
                <a:off x="1561388" y="-2298311"/>
                <a:ext cx="601091" cy="612802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" name="Rechteck: abgerundete Ecken 4">
              <a:extLst>
                <a:ext uri="{FF2B5EF4-FFF2-40B4-BE49-F238E27FC236}">
                  <a16:creationId xmlns:a16="http://schemas.microsoft.com/office/drawing/2014/main" id="{0BEA7C96-67F4-AF8C-17D6-8E2AD657FAF5}"/>
                </a:ext>
              </a:extLst>
            </p:cNvPr>
            <p:cNvSpPr/>
            <p:nvPr/>
          </p:nvSpPr>
          <p:spPr>
            <a:xfrm>
              <a:off x="5401885" y="689693"/>
              <a:ext cx="825500" cy="783774"/>
            </a:xfrm>
            <a:prstGeom prst="roundRect">
              <a:avLst>
                <a:gd name="adj" fmla="val 2298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Rechteck: abgerundete Ecken 5">
              <a:extLst>
                <a:ext uri="{FF2B5EF4-FFF2-40B4-BE49-F238E27FC236}">
                  <a16:creationId xmlns:a16="http://schemas.microsoft.com/office/drawing/2014/main" id="{AEA53EB2-967E-D6B7-43D1-951AC7AE1BD3}"/>
                </a:ext>
              </a:extLst>
            </p:cNvPr>
            <p:cNvSpPr/>
            <p:nvPr/>
          </p:nvSpPr>
          <p:spPr>
            <a:xfrm>
              <a:off x="953303" y="380983"/>
              <a:ext cx="4160238" cy="1915062"/>
            </a:xfrm>
            <a:prstGeom prst="roundRect">
              <a:avLst>
                <a:gd name="adj" fmla="val 1453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endParaRPr lang="de-DE" sz="14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30CF9AF7-42BD-ADAD-DA27-A26790F4230E}"/>
                </a:ext>
              </a:extLst>
            </p:cNvPr>
            <p:cNvSpPr txBox="1"/>
            <p:nvPr/>
          </p:nvSpPr>
          <p:spPr>
            <a:xfrm>
              <a:off x="1144332" y="538295"/>
              <a:ext cx="3936926" cy="160043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latin typeface="Aptos Display" panose="020B0004020202020204" pitchFamily="34" charset="0"/>
                </a:rPr>
                <a:t>Das </a:t>
              </a:r>
              <a:r>
                <a:rPr lang="de-DE" sz="1400" b="1" dirty="0">
                  <a:latin typeface="Aptos Display" panose="020B0004020202020204" pitchFamily="34" charset="0"/>
                </a:rPr>
                <a:t>Portal</a:t>
              </a:r>
              <a:r>
                <a:rPr lang="de-DE" sz="1400" dirty="0">
                  <a:latin typeface="Aptos Display" panose="020B0004020202020204" pitchFamily="34" charset="0"/>
                </a:rPr>
                <a:t> ist </a:t>
              </a:r>
              <a:r>
                <a:rPr lang="de-DE" sz="1400" b="1" dirty="0">
                  <a:latin typeface="Aptos Display" panose="020B0004020202020204" pitchFamily="34" charset="0"/>
                </a:rPr>
                <a:t>herstellerunabhängig und für Gesundheitseinrichtungen kostenfrei</a:t>
              </a:r>
              <a:r>
                <a:rPr lang="de-DE" sz="1400" dirty="0">
                  <a:latin typeface="Aptos Display" panose="020B0004020202020204" pitchFamily="34" charset="0"/>
                </a:rPr>
                <a:t> konzipiert, wodurch eine voreingenommene Darstellung von Produkten ausgeschlossen wird. </a:t>
              </a:r>
            </a:p>
            <a:p>
              <a:endParaRPr lang="de-DE" sz="1400" dirty="0">
                <a:latin typeface="Aptos Display" panose="020B0004020202020204" pitchFamily="34" charset="0"/>
              </a:endParaRPr>
            </a:p>
            <a:p>
              <a:r>
                <a:rPr lang="de-DE" sz="1400" dirty="0">
                  <a:latin typeface="Aptos Display" panose="020B0004020202020204" pitchFamily="34" charset="0"/>
                </a:rPr>
                <a:t>Die </a:t>
              </a:r>
              <a:r>
                <a:rPr lang="de-DE" sz="1400" b="1" dirty="0">
                  <a:latin typeface="Aptos Display" panose="020B0004020202020204" pitchFamily="34" charset="0"/>
                </a:rPr>
                <a:t>Auswahl</a:t>
              </a:r>
              <a:r>
                <a:rPr lang="de-DE" sz="1400" dirty="0">
                  <a:latin typeface="Aptos Display" panose="020B0004020202020204" pitchFamily="34" charset="0"/>
                </a:rPr>
                <a:t> geeigneter </a:t>
              </a:r>
              <a:r>
                <a:rPr lang="de-DE" sz="1400" b="1" dirty="0">
                  <a:latin typeface="Aptos Display" panose="020B0004020202020204" pitchFamily="34" charset="0"/>
                </a:rPr>
                <a:t>Hersteller</a:t>
              </a:r>
              <a:r>
                <a:rPr lang="de-DE" sz="1400" dirty="0">
                  <a:latin typeface="Aptos Display" panose="020B0004020202020204" pitchFamily="34" charset="0"/>
                </a:rPr>
                <a:t> erfolgt entsprechend </a:t>
              </a:r>
              <a:r>
                <a:rPr lang="de-DE" sz="1400" b="1" dirty="0">
                  <a:latin typeface="Aptos Display" panose="020B0004020202020204" pitchFamily="34" charset="0"/>
                </a:rPr>
                <a:t>Ihren spezifischen Anforderungen. </a:t>
              </a:r>
              <a:endParaRPr lang="de-DE" sz="1400" dirty="0">
                <a:latin typeface="Aptos Display" panose="020B0004020202020204" pitchFamily="34" charset="0"/>
              </a:endParaRPr>
            </a:p>
          </p:txBody>
        </p:sp>
        <p:pic>
          <p:nvPicPr>
            <p:cNvPr id="8" name="Grafik 7" descr="Informationen Silhouette">
              <a:extLst>
                <a:ext uri="{FF2B5EF4-FFF2-40B4-BE49-F238E27FC236}">
                  <a16:creationId xmlns:a16="http://schemas.microsoft.com/office/drawing/2014/main" id="{2C1EC0E4-DD97-6CE6-B836-D650DE66DF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14088" y="805438"/>
              <a:ext cx="601095" cy="601095"/>
            </a:xfrm>
            <a:prstGeom prst="rect">
              <a:avLst/>
            </a:prstGeom>
          </p:spPr>
        </p:pic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52EB516-185B-9B49-C074-C38158069969}"/>
              </a:ext>
            </a:extLst>
          </p:cNvPr>
          <p:cNvGrpSpPr/>
          <p:nvPr/>
        </p:nvGrpSpPr>
        <p:grpSpPr>
          <a:xfrm>
            <a:off x="8948743" y="1343978"/>
            <a:ext cx="1925632" cy="4973319"/>
            <a:chOff x="1195393" y="1524953"/>
            <a:chExt cx="1925632" cy="4973319"/>
          </a:xfrm>
          <a:solidFill>
            <a:srgbClr val="FFFFFF"/>
          </a:solidFill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2DB56D70-C37F-5DF8-E9A9-8CC32BED55C4}"/>
                </a:ext>
              </a:extLst>
            </p:cNvPr>
            <p:cNvGrpSpPr/>
            <p:nvPr/>
          </p:nvGrpSpPr>
          <p:grpSpPr>
            <a:xfrm>
              <a:off x="1608302" y="2147321"/>
              <a:ext cx="1085219" cy="601287"/>
              <a:chOff x="433650" y="-1652305"/>
              <a:chExt cx="1293207" cy="750947"/>
            </a:xfrm>
            <a:grpFill/>
          </p:grpSpPr>
          <p:sp>
            <p:nvSpPr>
              <p:cNvPr id="27" name="Halbbogen 26">
                <a:extLst>
                  <a:ext uri="{FF2B5EF4-FFF2-40B4-BE49-F238E27FC236}">
                    <a16:creationId xmlns:a16="http://schemas.microsoft.com/office/drawing/2014/main" id="{867D4D03-6449-B814-B8BA-3F494708A67E}"/>
                  </a:ext>
                </a:extLst>
              </p:cNvPr>
              <p:cNvSpPr/>
              <p:nvPr/>
            </p:nvSpPr>
            <p:spPr>
              <a:xfrm rot="16200000">
                <a:off x="986379" y="-1642077"/>
                <a:ext cx="750706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Halbbogen 27">
                <a:extLst>
                  <a:ext uri="{FF2B5EF4-FFF2-40B4-BE49-F238E27FC236}">
                    <a16:creationId xmlns:a16="http://schemas.microsoft.com/office/drawing/2014/main" id="{DD5B2445-AB1B-5391-A340-FA9DBC525435}"/>
                  </a:ext>
                </a:extLst>
              </p:cNvPr>
              <p:cNvSpPr/>
              <p:nvPr/>
            </p:nvSpPr>
            <p:spPr>
              <a:xfrm rot="5400000" flipH="1">
                <a:off x="423424" y="-1641834"/>
                <a:ext cx="750702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B0C4D2AE-D1FD-9A1D-F8F0-C42EEDF41DF2}"/>
                </a:ext>
              </a:extLst>
            </p:cNvPr>
            <p:cNvSpPr/>
            <p:nvPr/>
          </p:nvSpPr>
          <p:spPr>
            <a:xfrm>
              <a:off x="1201102" y="1524953"/>
              <a:ext cx="1919923" cy="775901"/>
            </a:xfrm>
            <a:prstGeom prst="roundRect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Berücksichtigung von individuellen Anforderungen</a:t>
              </a:r>
              <a:endParaRPr lang="de-DE" sz="14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6FF858A-FCBC-EB92-1359-1D4D5B8FD7C3}"/>
                </a:ext>
              </a:extLst>
            </p:cNvPr>
            <p:cNvGrpSpPr/>
            <p:nvPr/>
          </p:nvGrpSpPr>
          <p:grpSpPr>
            <a:xfrm>
              <a:off x="1610334" y="2983233"/>
              <a:ext cx="1085215" cy="601291"/>
              <a:chOff x="422293" y="-1656272"/>
              <a:chExt cx="1293202" cy="750951"/>
            </a:xfrm>
            <a:grpFill/>
          </p:grpSpPr>
          <p:sp>
            <p:nvSpPr>
              <p:cNvPr id="25" name="Halbbogen 24">
                <a:extLst>
                  <a:ext uri="{FF2B5EF4-FFF2-40B4-BE49-F238E27FC236}">
                    <a16:creationId xmlns:a16="http://schemas.microsoft.com/office/drawing/2014/main" id="{051B5ED6-3D65-5DB3-19BA-A871C04668E0}"/>
                  </a:ext>
                </a:extLst>
              </p:cNvPr>
              <p:cNvSpPr/>
              <p:nvPr/>
            </p:nvSpPr>
            <p:spPr>
              <a:xfrm rot="16200000">
                <a:off x="975016" y="-1646043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Halbbogen 25">
                <a:extLst>
                  <a:ext uri="{FF2B5EF4-FFF2-40B4-BE49-F238E27FC236}">
                    <a16:creationId xmlns:a16="http://schemas.microsoft.com/office/drawing/2014/main" id="{505F8899-E6AC-6F0B-850D-127EC859C9DE}"/>
                  </a:ext>
                </a:extLst>
              </p:cNvPr>
              <p:cNvSpPr/>
              <p:nvPr/>
            </p:nvSpPr>
            <p:spPr>
              <a:xfrm rot="5400000" flipH="1">
                <a:off x="412064" y="-1645799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519933E9-91AC-79D9-EDC1-5139836A5C05}"/>
                </a:ext>
              </a:extLst>
            </p:cNvPr>
            <p:cNvGrpSpPr/>
            <p:nvPr/>
          </p:nvGrpSpPr>
          <p:grpSpPr>
            <a:xfrm>
              <a:off x="1624630" y="4046327"/>
              <a:ext cx="1085218" cy="601289"/>
              <a:chOff x="446212" y="-1405423"/>
              <a:chExt cx="1293207" cy="750949"/>
            </a:xfrm>
            <a:grpFill/>
          </p:grpSpPr>
          <p:sp>
            <p:nvSpPr>
              <p:cNvPr id="23" name="Halbbogen 22">
                <a:extLst>
                  <a:ext uri="{FF2B5EF4-FFF2-40B4-BE49-F238E27FC236}">
                    <a16:creationId xmlns:a16="http://schemas.microsoft.com/office/drawing/2014/main" id="{90853AEC-2E3F-3520-85EE-0F04B2C428A1}"/>
                  </a:ext>
                </a:extLst>
              </p:cNvPr>
              <p:cNvSpPr/>
              <p:nvPr/>
            </p:nvSpPr>
            <p:spPr>
              <a:xfrm rot="16200000">
                <a:off x="998940" y="-1395194"/>
                <a:ext cx="750707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Halbbogen 23">
                <a:extLst>
                  <a:ext uri="{FF2B5EF4-FFF2-40B4-BE49-F238E27FC236}">
                    <a16:creationId xmlns:a16="http://schemas.microsoft.com/office/drawing/2014/main" id="{7ACA8921-B287-311D-2F2E-868D2F894BFD}"/>
                  </a:ext>
                </a:extLst>
              </p:cNvPr>
              <p:cNvSpPr/>
              <p:nvPr/>
            </p:nvSpPr>
            <p:spPr>
              <a:xfrm rot="5400000" flipH="1">
                <a:off x="435985" y="-1394951"/>
                <a:ext cx="750704" cy="730249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D0565C6E-9152-FC06-2840-B9652FD365E9}"/>
                </a:ext>
              </a:extLst>
            </p:cNvPr>
            <p:cNvGrpSpPr/>
            <p:nvPr/>
          </p:nvGrpSpPr>
          <p:grpSpPr>
            <a:xfrm>
              <a:off x="1628283" y="4882409"/>
              <a:ext cx="1085216" cy="601287"/>
              <a:chOff x="429871" y="-1394725"/>
              <a:chExt cx="1293203" cy="750948"/>
            </a:xfrm>
            <a:grpFill/>
          </p:grpSpPr>
          <p:sp>
            <p:nvSpPr>
              <p:cNvPr id="21" name="Halbbogen 20">
                <a:extLst>
                  <a:ext uri="{FF2B5EF4-FFF2-40B4-BE49-F238E27FC236}">
                    <a16:creationId xmlns:a16="http://schemas.microsoft.com/office/drawing/2014/main" id="{7925CD21-789B-F72D-05B9-580A079F7EBE}"/>
                  </a:ext>
                </a:extLst>
              </p:cNvPr>
              <p:cNvSpPr/>
              <p:nvPr/>
            </p:nvSpPr>
            <p:spPr>
              <a:xfrm rot="16200000">
                <a:off x="982595" y="-1384496"/>
                <a:ext cx="750708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Halbbogen 21">
                <a:extLst>
                  <a:ext uri="{FF2B5EF4-FFF2-40B4-BE49-F238E27FC236}">
                    <a16:creationId xmlns:a16="http://schemas.microsoft.com/office/drawing/2014/main" id="{BDAE719D-C858-4F60-3A3C-B58DD87EB037}"/>
                  </a:ext>
                </a:extLst>
              </p:cNvPr>
              <p:cNvSpPr/>
              <p:nvPr/>
            </p:nvSpPr>
            <p:spPr>
              <a:xfrm rot="5400000" flipH="1">
                <a:off x="419644" y="-1384254"/>
                <a:ext cx="750704" cy="730250"/>
              </a:xfrm>
              <a:prstGeom prst="blockArc">
                <a:avLst/>
              </a:prstGeom>
              <a:grpFill/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7A04DA61-9D63-25D4-32D0-C0F32E436ABD}"/>
                </a:ext>
              </a:extLst>
            </p:cNvPr>
            <p:cNvSpPr/>
            <p:nvPr/>
          </p:nvSpPr>
          <p:spPr>
            <a:xfrm>
              <a:off x="1201102" y="2601303"/>
              <a:ext cx="1919923" cy="534622"/>
            </a:xfrm>
            <a:prstGeom prst="roundRect">
              <a:avLst>
                <a:gd name="adj" fmla="val 25575"/>
              </a:avLst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Bedarfsorientierte Filterung</a:t>
              </a:r>
              <a:endParaRPr lang="de-DE" sz="14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Rechteck: abgerundete Ecken 17">
              <a:extLst>
                <a:ext uri="{FF2B5EF4-FFF2-40B4-BE49-F238E27FC236}">
                  <a16:creationId xmlns:a16="http://schemas.microsoft.com/office/drawing/2014/main" id="{61BA6A9D-A34C-B418-70BA-9B44EA37F3BB}"/>
                </a:ext>
              </a:extLst>
            </p:cNvPr>
            <p:cNvSpPr/>
            <p:nvPr/>
          </p:nvSpPr>
          <p:spPr>
            <a:xfrm>
              <a:off x="1201102" y="3428819"/>
              <a:ext cx="1919923" cy="771706"/>
            </a:xfrm>
            <a:prstGeom prst="roundRect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 dirty="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Neutrale und Hersteller unabhängige Auswahl</a:t>
              </a:r>
              <a:endParaRPr lang="de-DE" sz="1400" kern="100" dirty="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ABD98256-5953-A762-3E39-D1EA6759CAD0}"/>
                </a:ext>
              </a:extLst>
            </p:cNvPr>
            <p:cNvSpPr/>
            <p:nvPr/>
          </p:nvSpPr>
          <p:spPr>
            <a:xfrm>
              <a:off x="1195393" y="4493419"/>
              <a:ext cx="1919923" cy="534622"/>
            </a:xfrm>
            <a:prstGeom prst="roundRect">
              <a:avLst>
                <a:gd name="adj" fmla="val 23793"/>
              </a:avLst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Unterstützung durch Experten</a:t>
              </a:r>
              <a:endParaRPr lang="de-DE" sz="14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7943B8B8-1D67-199F-EB93-D90CA4699E8C}"/>
                </a:ext>
              </a:extLst>
            </p:cNvPr>
            <p:cNvSpPr/>
            <p:nvPr/>
          </p:nvSpPr>
          <p:spPr>
            <a:xfrm>
              <a:off x="1195394" y="5333047"/>
              <a:ext cx="1919923" cy="1165225"/>
            </a:xfrm>
            <a:prstGeom prst="roundRect">
              <a:avLst/>
            </a:prstGeom>
            <a:grpFill/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400" kern="100">
                  <a:solidFill>
                    <a:schemeClr val="tx1"/>
                  </a:solidFill>
                  <a:effectLst/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Effizienzsteigerung durch Zeitersparnis und ressourcenschonende Recherche</a:t>
              </a:r>
              <a:endParaRPr lang="de-DE" sz="14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9" name="Textfeld 2">
            <a:extLst>
              <a:ext uri="{FF2B5EF4-FFF2-40B4-BE49-F238E27FC236}">
                <a16:creationId xmlns:a16="http://schemas.microsoft.com/office/drawing/2014/main" id="{5134B74E-8F1A-BF54-8F69-8F979D56F7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3268" y="454476"/>
            <a:ext cx="3050877" cy="651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0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utzen und Vorteile für Gesundheitseinrichtungen</a:t>
            </a:r>
            <a:endParaRPr lang="de-DE" sz="20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endParaRPr lang="de-DE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BE9935E7-1025-2E09-5F94-0CF2555D9A00}"/>
              </a:ext>
            </a:extLst>
          </p:cNvPr>
          <p:cNvSpPr txBox="1"/>
          <p:nvPr/>
        </p:nvSpPr>
        <p:spPr>
          <a:xfrm>
            <a:off x="733373" y="2721114"/>
            <a:ext cx="57619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Überschrift </a:t>
            </a:r>
            <a:endParaRPr lang="de-DE" sz="2000" b="1" kern="100" dirty="0">
              <a:solidFill>
                <a:srgbClr val="395A85"/>
              </a:solidFill>
              <a:effectLst/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de-DE" sz="2000" b="1" dirty="0">
              <a:solidFill>
                <a:srgbClr val="395A85"/>
              </a:solidFill>
              <a:latin typeface="Aptos Display" panose="020B00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B17F168-7D4B-7729-A717-33A5B2449D89}"/>
              </a:ext>
            </a:extLst>
          </p:cNvPr>
          <p:cNvSpPr txBox="1"/>
          <p:nvPr/>
        </p:nvSpPr>
        <p:spPr>
          <a:xfrm>
            <a:off x="733373" y="3429000"/>
            <a:ext cx="6097772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xt….. Häufig kennen Einrichtungen ihre Prozesse nicht und haben dadurch keinen Überblick über ihre Prozesskosten. </a:t>
            </a:r>
          </a:p>
          <a:p>
            <a:endParaRPr lang="de-DE" sz="1600" kern="100" dirty="0">
              <a:effectLst/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ufgrund des Mangels an Zeit und Ressourcen ist es für Kran</a:t>
            </a:r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enhäuser sehr schwierig, regelmäßig interne Evaluierungen durchzuführen, so dass Entscheidungen über hohe Investitionen oft auf der Grundlage unvollständiger Informationen getroffen werden. </a:t>
            </a:r>
          </a:p>
          <a:p>
            <a:endParaRPr lang="de-DE" sz="1600" kern="100" dirty="0"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t der Einführung eines CMMI-Prozessreifegradmodells können wir Ihrer Gesundheitseinrichtung einen transparenten Überblick über die Prozesslandschaft verschaffen. </a:t>
            </a:r>
            <a:endParaRPr lang="de-DE" sz="1600" kern="100" dirty="0">
              <a:effectLst/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DF5C2DEA-6CC4-19DE-48BF-DABAA68A503F}"/>
              </a:ext>
            </a:extLst>
          </p:cNvPr>
          <p:cNvCxnSpPr>
            <a:cxnSpLocks/>
          </p:cNvCxnSpPr>
          <p:nvPr/>
        </p:nvCxnSpPr>
        <p:spPr>
          <a:xfrm>
            <a:off x="808153" y="3263965"/>
            <a:ext cx="5687181" cy="0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9763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OHRA_Master_V01">
  <a:themeElements>
    <a:clrScheme name="Benutzerdefiniert 5">
      <a:dk1>
        <a:srgbClr val="121F3D"/>
      </a:dk1>
      <a:lt1>
        <a:srgbClr val="F8F8F8"/>
      </a:lt1>
      <a:dk2>
        <a:srgbClr val="121F3D"/>
      </a:dk2>
      <a:lt2>
        <a:srgbClr val="DFEAF9"/>
      </a:lt2>
      <a:accent1>
        <a:srgbClr val="52D7D7"/>
      </a:accent1>
      <a:accent2>
        <a:srgbClr val="121F3D"/>
      </a:accent2>
      <a:accent3>
        <a:srgbClr val="694B8C"/>
      </a:accent3>
      <a:accent4>
        <a:srgbClr val="8C874B"/>
      </a:accent4>
      <a:accent5>
        <a:srgbClr val="D78F52"/>
      </a:accent5>
      <a:accent6>
        <a:srgbClr val="3D2F12"/>
      </a:accent6>
      <a:hlink>
        <a:srgbClr val="3D2F12"/>
      </a:hlink>
      <a:folHlink>
        <a:srgbClr val="F9EFDF"/>
      </a:folHlink>
    </a:clrScheme>
    <a:fontScheme name="Benutzerdefiniert 1">
      <a:majorFont>
        <a:latin typeface="Oswald"/>
        <a:ea typeface=""/>
        <a:cs typeface=""/>
      </a:majorFont>
      <a:minorFont>
        <a:latin typeface="Oswal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FOHRA_Master_V01">
  <a:themeElements>
    <a:clrScheme name="Benutzerdefiniert 5">
      <a:dk1>
        <a:srgbClr val="121F3D"/>
      </a:dk1>
      <a:lt1>
        <a:srgbClr val="F8F8F8"/>
      </a:lt1>
      <a:dk2>
        <a:srgbClr val="121F3D"/>
      </a:dk2>
      <a:lt2>
        <a:srgbClr val="DFEAF9"/>
      </a:lt2>
      <a:accent1>
        <a:srgbClr val="52D7D7"/>
      </a:accent1>
      <a:accent2>
        <a:srgbClr val="121F3D"/>
      </a:accent2>
      <a:accent3>
        <a:srgbClr val="694B8C"/>
      </a:accent3>
      <a:accent4>
        <a:srgbClr val="8C874B"/>
      </a:accent4>
      <a:accent5>
        <a:srgbClr val="D78F52"/>
      </a:accent5>
      <a:accent6>
        <a:srgbClr val="3D2F12"/>
      </a:accent6>
      <a:hlink>
        <a:srgbClr val="3D2F12"/>
      </a:hlink>
      <a:folHlink>
        <a:srgbClr val="F9EFDF"/>
      </a:folHlink>
    </a:clrScheme>
    <a:fontScheme name="Benutzerdefiniert 1">
      <a:majorFont>
        <a:latin typeface="Oswald"/>
        <a:ea typeface=""/>
        <a:cs typeface=""/>
      </a:majorFont>
      <a:minorFont>
        <a:latin typeface="Oswal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7ab0984-10f1-4395-b60d-25f1691eb170">
      <Terms xmlns="http://schemas.microsoft.com/office/infopath/2007/PartnerControls"/>
    </lcf76f155ced4ddcb4097134ff3c332f>
    <TaxCatchAll xmlns="8297f5c1-3b95-4d56-b368-b6987169b51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00010592A9F543ADBE163B4184BD0F" ma:contentTypeVersion="18" ma:contentTypeDescription="Ein neues Dokument erstellen." ma:contentTypeScope="" ma:versionID="0542fff46ae734924cf3e5fa24ab74e3">
  <xsd:schema xmlns:xsd="http://www.w3.org/2001/XMLSchema" xmlns:xs="http://www.w3.org/2001/XMLSchema" xmlns:p="http://schemas.microsoft.com/office/2006/metadata/properties" xmlns:ns2="8297f5c1-3b95-4d56-b368-b6987169b513" xmlns:ns3="a7ab0984-10f1-4395-b60d-25f1691eb170" targetNamespace="http://schemas.microsoft.com/office/2006/metadata/properties" ma:root="true" ma:fieldsID="fddd5336dc38e0a90ad24677bcdeb38c" ns2:_="" ns3:_="">
    <xsd:import namespace="8297f5c1-3b95-4d56-b368-b6987169b513"/>
    <xsd:import namespace="a7ab0984-10f1-4395-b60d-25f1691eb17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7f5c1-3b95-4d56-b368-b6987169b5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65c33da-748b-4b0c-bc0f-2bcf8a42e1a8}" ma:internalName="TaxCatchAll" ma:showField="CatchAllData" ma:web="8297f5c1-3b95-4d56-b368-b6987169b51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ab0984-10f1-4395-b60d-25f1691eb1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34714a44-0f9d-4d7d-9544-bd76c442678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B41BD2-8171-4CA2-898C-D7486F8FC71E}">
  <ds:schemaRefs>
    <ds:schemaRef ds:uri="http://schemas.microsoft.com/office/2006/metadata/properties"/>
    <ds:schemaRef ds:uri="http://schemas.microsoft.com/office/infopath/2007/PartnerControls"/>
    <ds:schemaRef ds:uri="a7ab0984-10f1-4395-b60d-25f1691eb170"/>
    <ds:schemaRef ds:uri="8297f5c1-3b95-4d56-b368-b6987169b513"/>
  </ds:schemaRefs>
</ds:datastoreItem>
</file>

<file path=customXml/itemProps2.xml><?xml version="1.0" encoding="utf-8"?>
<ds:datastoreItem xmlns:ds="http://schemas.openxmlformats.org/officeDocument/2006/customXml" ds:itemID="{49693B3C-89C4-4F15-960A-BAAA49A51D8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3DC2755-402E-4276-B919-0ABD8B2421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97f5c1-3b95-4d56-b368-b6987169b513"/>
    <ds:schemaRef ds:uri="a7ab0984-10f1-4395-b60d-25f1691eb1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6</Words>
  <Application>Microsoft Office PowerPoint</Application>
  <PresentationFormat>Breitbild</PresentationFormat>
  <Paragraphs>163</Paragraphs>
  <Slides>1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11</vt:i4>
      </vt:variant>
    </vt:vector>
  </HeadingPairs>
  <TitlesOfParts>
    <vt:vector size="13" baseType="lpstr">
      <vt:lpstr>IFOHRA_Master_V01</vt:lpstr>
      <vt:lpstr>2_IFOHRA_Master_V01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ika Zimmermann</dc:creator>
  <cp:lastModifiedBy>Marielle Berktold</cp:lastModifiedBy>
  <cp:revision>8</cp:revision>
  <dcterms:created xsi:type="dcterms:W3CDTF">2023-09-26T10:34:28Z</dcterms:created>
  <dcterms:modified xsi:type="dcterms:W3CDTF">2025-03-27T09:5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00010592A9F543ADBE163B4184BD0F</vt:lpwstr>
  </property>
  <property fmtid="{D5CDD505-2E9C-101B-9397-08002B2CF9AE}" pid="3" name="MediaServiceImageTags">
    <vt:lpwstr/>
  </property>
</Properties>
</file>